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0"/>
  </p:notesMasterIdLst>
  <p:handoutMasterIdLst>
    <p:handoutMasterId r:id="rId31"/>
  </p:handoutMasterIdLst>
  <p:sldIdLst>
    <p:sldId id="437" r:id="rId5"/>
    <p:sldId id="436" r:id="rId6"/>
    <p:sldId id="424" r:id="rId7"/>
    <p:sldId id="433" r:id="rId8"/>
    <p:sldId id="430" r:id="rId9"/>
    <p:sldId id="431" r:id="rId10"/>
    <p:sldId id="425" r:id="rId11"/>
    <p:sldId id="427" r:id="rId12"/>
    <p:sldId id="428" r:id="rId13"/>
    <p:sldId id="426" r:id="rId14"/>
    <p:sldId id="408" r:id="rId15"/>
    <p:sldId id="409" r:id="rId16"/>
    <p:sldId id="410" r:id="rId17"/>
    <p:sldId id="411" r:id="rId18"/>
    <p:sldId id="413" r:id="rId19"/>
    <p:sldId id="401" r:id="rId20"/>
    <p:sldId id="414" r:id="rId21"/>
    <p:sldId id="422" r:id="rId22"/>
    <p:sldId id="415" r:id="rId23"/>
    <p:sldId id="416" r:id="rId24"/>
    <p:sldId id="417" r:id="rId25"/>
    <p:sldId id="419" r:id="rId26"/>
    <p:sldId id="423" r:id="rId27"/>
    <p:sldId id="418" r:id="rId28"/>
    <p:sldId id="429" r:id="rId29"/>
  </p:sldIdLst>
  <p:sldSz cx="10688638" cy="7562850"/>
  <p:notesSz cx="7315200" cy="9601200"/>
  <p:custDataLst>
    <p:tags r:id="rId32"/>
  </p:custDataLst>
  <p:defaultTextStyle>
    <a:defPPr>
      <a:defRPr lang="en-US"/>
    </a:defPPr>
    <a:lvl1pPr marL="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1042873" rtl="0" eaLnBrk="1" latinLnBrk="0" hangingPunct="1">
      <a:defRPr sz="20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38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000000"/>
    <a:srgbClr val="FFCD00"/>
    <a:srgbClr val="ED8B00"/>
    <a:srgbClr val="DB291C"/>
    <a:srgbClr val="FF99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627" autoAdjust="0"/>
    <p:restoredTop sz="94984" autoAdjust="0"/>
  </p:normalViewPr>
  <p:slideViewPr>
    <p:cSldViewPr snapToGrid="0" showGuides="1">
      <p:cViewPr varScale="1">
        <p:scale>
          <a:sx n="62" d="100"/>
          <a:sy n="62" d="100"/>
        </p:scale>
        <p:origin x="1200" y="72"/>
      </p:cViewPr>
      <p:guideLst>
        <p:guide/>
        <p:guide orient="horz" pos="2382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4/27/2018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4/2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6013" y="720725"/>
            <a:ext cx="508317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042873" rtl="0" eaLnBrk="1" latinLnBrk="0" hangingPunct="1">
      <a:defRPr sz="1369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521437" algn="l" defTabSz="1042873" rtl="0" eaLnBrk="1" latinLnBrk="0" hangingPunct="1">
      <a:defRPr sz="1369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042873" algn="l" defTabSz="1042873" rtl="0" eaLnBrk="1" latinLnBrk="0" hangingPunct="1">
      <a:defRPr sz="1369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564310" algn="l" defTabSz="1042873" rtl="0" eaLnBrk="1" latinLnBrk="0" hangingPunct="1">
      <a:defRPr sz="1369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085746" algn="l" defTabSz="1042873" rtl="0" eaLnBrk="1" latinLnBrk="0" hangingPunct="1">
      <a:defRPr sz="1369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60718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9321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3778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40120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98972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3483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0280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3832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3824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7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61306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138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1819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0276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54233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16000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415670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0006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1111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0868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2367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3454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1562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68549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443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196866" y="801940"/>
            <a:ext cx="6312188" cy="5955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41844" y="6466942"/>
            <a:ext cx="4902475" cy="55761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985" b="1">
                <a:solidFill>
                  <a:schemeClr val="bg1"/>
                </a:solidFill>
              </a:defRPr>
            </a:lvl1pPr>
            <a:lvl2pPr marL="0" marR="0" indent="0" algn="l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764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764">
                <a:solidFill>
                  <a:schemeClr val="bg1"/>
                </a:solidFill>
              </a:defRPr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9794" y="7037652"/>
            <a:ext cx="4904525" cy="329124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3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39792" y="416850"/>
            <a:ext cx="1892808" cy="359839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50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39794" y="1880974"/>
            <a:ext cx="9241218" cy="1756067"/>
          </a:xfrm>
        </p:spPr>
        <p:txBody>
          <a:bodyPr anchor="b"/>
          <a:lstStyle>
            <a:lvl1pPr>
              <a:lnSpc>
                <a:spcPct val="95000"/>
              </a:lnSpc>
              <a:defRPr sz="39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39794" y="3781425"/>
            <a:ext cx="9241218" cy="172753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900">
                <a:solidFill>
                  <a:schemeClr val="tx1"/>
                </a:solidFill>
              </a:defRPr>
            </a:lvl1pPr>
            <a:lvl2pPr marL="504200" indent="0">
              <a:buNone/>
              <a:defRPr sz="2206">
                <a:solidFill>
                  <a:schemeClr val="tx1">
                    <a:tint val="75000"/>
                  </a:schemeClr>
                </a:solidFill>
              </a:defRPr>
            </a:lvl2pPr>
            <a:lvl3pPr marL="1008400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60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10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52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4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6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382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9794" y="1796176"/>
            <a:ext cx="8023816" cy="52414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970"/>
              </a:spcBef>
              <a:defRPr sz="3000">
                <a:solidFill>
                  <a:schemeClr val="bg1"/>
                </a:solidFill>
              </a:defRPr>
            </a:lvl1pPr>
            <a:lvl2pPr marL="504200" indent="-504200">
              <a:defRPr sz="3308">
                <a:solidFill>
                  <a:schemeClr val="bg2"/>
                </a:solidFill>
              </a:defRPr>
            </a:lvl2pPr>
            <a:lvl3pPr>
              <a:defRPr sz="3308">
                <a:solidFill>
                  <a:schemeClr val="bg2"/>
                </a:solidFill>
              </a:defRPr>
            </a:lvl3pPr>
            <a:lvl4pPr>
              <a:defRPr sz="3308">
                <a:solidFill>
                  <a:schemeClr val="bg2"/>
                </a:solidFill>
              </a:defRPr>
            </a:lvl4pPr>
            <a:lvl5pPr>
              <a:defRPr sz="3308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39794" y="7142692"/>
            <a:ext cx="4694836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62"/>
              </a:spcBef>
              <a:buSzPct val="100000"/>
              <a:buFont typeface="Arial"/>
              <a:buNone/>
            </a:pPr>
            <a:r>
              <a:rPr lang="fr-FR" sz="717" noProof="0" dirty="0">
                <a:solidFill>
                  <a:schemeClr val="bg1"/>
                </a:solidFill>
              </a:rPr>
              <a:t>© 2018 Deloitte Touche Tohmatsu India LLP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978847" y="7142692"/>
            <a:ext cx="269999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62"/>
              </a:spcBef>
              <a:buSzPct val="100000"/>
              <a:buFont typeface="Arial"/>
              <a:buNone/>
            </a:pPr>
            <a:fld id="{C58DF478-B544-4ED8-9ED4-6A2648E2D233}" type="slidenum">
              <a:rPr lang="en-US" sz="717" noProof="0" smtClean="0">
                <a:solidFill>
                  <a:schemeClr val="bg1"/>
                </a:solidFill>
              </a:rPr>
              <a:pPr marL="0" indent="0" algn="r">
                <a:spcBef>
                  <a:spcPts val="662"/>
                </a:spcBef>
                <a:buSzPct val="100000"/>
                <a:buFont typeface="Arial"/>
                <a:buNone/>
              </a:pPr>
              <a:t>‹#›</a:t>
            </a:fld>
            <a:endParaRPr lang="en-US" sz="71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9793" y="1794440"/>
            <a:ext cx="8133385" cy="524876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970"/>
              </a:spcBef>
              <a:defRPr sz="3000">
                <a:solidFill>
                  <a:schemeClr val="bg1"/>
                </a:solidFill>
              </a:defRPr>
            </a:lvl1pPr>
            <a:lvl2pPr marL="504200" indent="-504200">
              <a:defRPr sz="3308">
                <a:solidFill>
                  <a:schemeClr val="bg2"/>
                </a:solidFill>
              </a:defRPr>
            </a:lvl2pPr>
            <a:lvl3pPr>
              <a:defRPr sz="3308">
                <a:solidFill>
                  <a:schemeClr val="bg2"/>
                </a:solidFill>
              </a:defRPr>
            </a:lvl3pPr>
            <a:lvl4pPr>
              <a:defRPr sz="3308">
                <a:solidFill>
                  <a:schemeClr val="bg2"/>
                </a:solidFill>
              </a:defRPr>
            </a:lvl4pPr>
            <a:lvl5pPr>
              <a:defRPr sz="3308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39794" y="7142692"/>
            <a:ext cx="4694836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62"/>
              </a:spcBef>
              <a:buSzPct val="100000"/>
              <a:buFont typeface="Arial"/>
              <a:buNone/>
            </a:pPr>
            <a:r>
              <a:rPr lang="fr-FR" sz="717" noProof="0" dirty="0">
                <a:solidFill>
                  <a:schemeClr val="bg1"/>
                </a:solidFill>
              </a:rPr>
              <a:t>© 2018 Deloitte Touche Tohmatsu India LLP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978847" y="7142692"/>
            <a:ext cx="269999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62"/>
              </a:spcBef>
              <a:buSzPct val="100000"/>
              <a:buFont typeface="Arial"/>
              <a:buNone/>
            </a:pPr>
            <a:fld id="{C58DF478-B544-4ED8-9ED4-6A2648E2D233}" type="slidenum">
              <a:rPr lang="en-US" sz="717" noProof="0" smtClean="0">
                <a:solidFill>
                  <a:schemeClr val="bg1"/>
                </a:solidFill>
              </a:rPr>
              <a:pPr marL="0" indent="0" algn="r">
                <a:spcBef>
                  <a:spcPts val="662"/>
                </a:spcBef>
                <a:buSzPct val="100000"/>
                <a:buFont typeface="Arial"/>
                <a:buNone/>
              </a:pPr>
              <a:t>‹#›</a:t>
            </a:fld>
            <a:endParaRPr lang="en-US" sz="71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9793" y="1796176"/>
            <a:ext cx="8133385" cy="52414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970"/>
              </a:spcBef>
              <a:defRPr sz="3000">
                <a:solidFill>
                  <a:schemeClr val="bg1"/>
                </a:solidFill>
              </a:defRPr>
            </a:lvl1pPr>
            <a:lvl2pPr marL="504200" indent="-504200">
              <a:defRPr sz="3308">
                <a:solidFill>
                  <a:schemeClr val="bg2"/>
                </a:solidFill>
              </a:defRPr>
            </a:lvl2pPr>
            <a:lvl3pPr>
              <a:defRPr sz="3308">
                <a:solidFill>
                  <a:schemeClr val="bg2"/>
                </a:solidFill>
              </a:defRPr>
            </a:lvl3pPr>
            <a:lvl4pPr>
              <a:defRPr sz="3308">
                <a:solidFill>
                  <a:schemeClr val="bg2"/>
                </a:solidFill>
              </a:defRPr>
            </a:lvl4pPr>
            <a:lvl5pPr>
              <a:defRPr sz="3308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39794" y="7142692"/>
            <a:ext cx="4694836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62"/>
              </a:spcBef>
              <a:buSzPct val="100000"/>
              <a:buFont typeface="Arial"/>
              <a:buNone/>
            </a:pPr>
            <a:r>
              <a:rPr lang="fr-FR" sz="717" noProof="0" dirty="0">
                <a:solidFill>
                  <a:schemeClr val="bg1"/>
                </a:solidFill>
              </a:rPr>
              <a:t>© 2018 Deloitte Touche Tohmatsu India LLP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978847" y="7142692"/>
            <a:ext cx="269999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62"/>
              </a:spcBef>
              <a:buSzPct val="100000"/>
              <a:buFont typeface="Arial"/>
              <a:buNone/>
            </a:pPr>
            <a:fld id="{C58DF478-B544-4ED8-9ED4-6A2648E2D233}" type="slidenum">
              <a:rPr lang="en-US" sz="717" noProof="0" smtClean="0">
                <a:solidFill>
                  <a:schemeClr val="bg1"/>
                </a:solidFill>
              </a:rPr>
              <a:pPr marL="0" indent="0" algn="r">
                <a:spcBef>
                  <a:spcPts val="662"/>
                </a:spcBef>
                <a:buSzPct val="100000"/>
                <a:buFont typeface="Arial"/>
                <a:buNone/>
              </a:pPr>
              <a:t>‹#›</a:t>
            </a:fld>
            <a:endParaRPr lang="en-US" sz="71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9793" y="1796176"/>
            <a:ext cx="8133385" cy="52414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970"/>
              </a:spcBef>
              <a:defRPr sz="3000">
                <a:solidFill>
                  <a:schemeClr val="bg1"/>
                </a:solidFill>
              </a:defRPr>
            </a:lvl1pPr>
            <a:lvl2pPr marL="504200" indent="-504200">
              <a:defRPr sz="3308">
                <a:solidFill>
                  <a:schemeClr val="bg2"/>
                </a:solidFill>
              </a:defRPr>
            </a:lvl2pPr>
            <a:lvl3pPr>
              <a:defRPr sz="3308">
                <a:solidFill>
                  <a:schemeClr val="bg2"/>
                </a:solidFill>
              </a:defRPr>
            </a:lvl3pPr>
            <a:lvl4pPr>
              <a:defRPr sz="3308">
                <a:solidFill>
                  <a:schemeClr val="bg2"/>
                </a:solidFill>
              </a:defRPr>
            </a:lvl4pPr>
            <a:lvl5pPr>
              <a:defRPr sz="3308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39794" y="7142692"/>
            <a:ext cx="4694836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62"/>
              </a:spcBef>
              <a:buSzPct val="100000"/>
              <a:buFont typeface="Arial"/>
              <a:buNone/>
            </a:pPr>
            <a:r>
              <a:rPr lang="fr-FR" sz="717" noProof="0" dirty="0">
                <a:solidFill>
                  <a:schemeClr val="bg1"/>
                </a:solidFill>
              </a:rPr>
              <a:t>© 2018 Deloitte Touche Tohmatsu India LLP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978847" y="7142692"/>
            <a:ext cx="269999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62"/>
              </a:spcBef>
              <a:buSzPct val="100000"/>
              <a:buFont typeface="Arial"/>
              <a:buNone/>
            </a:pPr>
            <a:fld id="{C58DF478-B544-4ED8-9ED4-6A2648E2D233}" type="slidenum">
              <a:rPr lang="en-US" sz="717" noProof="0" smtClean="0">
                <a:solidFill>
                  <a:schemeClr val="bg1"/>
                </a:solidFill>
              </a:rPr>
              <a:pPr marL="0" indent="0" algn="r">
                <a:spcBef>
                  <a:spcPts val="662"/>
                </a:spcBef>
                <a:buSzPct val="100000"/>
                <a:buFont typeface="Arial"/>
                <a:buNone/>
              </a:pPr>
              <a:t>‹#›</a:t>
            </a:fld>
            <a:endParaRPr lang="en-US" sz="71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9793" y="1796176"/>
            <a:ext cx="8133385" cy="52414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970"/>
              </a:spcBef>
              <a:defRPr sz="3000">
                <a:solidFill>
                  <a:schemeClr val="tx1"/>
                </a:solidFill>
              </a:defRPr>
            </a:lvl1pPr>
            <a:lvl2pPr marL="504200" indent="-504200">
              <a:defRPr sz="3308">
                <a:solidFill>
                  <a:schemeClr val="bg2"/>
                </a:solidFill>
              </a:defRPr>
            </a:lvl2pPr>
            <a:lvl3pPr>
              <a:defRPr sz="3308">
                <a:solidFill>
                  <a:schemeClr val="bg2"/>
                </a:solidFill>
              </a:defRPr>
            </a:lvl3pPr>
            <a:lvl4pPr>
              <a:defRPr sz="3308">
                <a:solidFill>
                  <a:schemeClr val="bg2"/>
                </a:solidFill>
              </a:defRPr>
            </a:lvl4pPr>
            <a:lvl5pPr>
              <a:defRPr sz="3308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39793" y="1836443"/>
            <a:ext cx="8133385" cy="5201211"/>
          </a:xfrm>
          <a:prstGeom prst="rect">
            <a:avLst/>
          </a:prstGeom>
        </p:spPr>
        <p:txBody>
          <a:bodyPr/>
          <a:lstStyle>
            <a:lvl1pPr>
              <a:tabLst>
                <a:tab pos="7421197" algn="r"/>
              </a:tabLst>
              <a:defRPr/>
            </a:lvl1pPr>
            <a:lvl2pPr>
              <a:tabLst>
                <a:tab pos="7421197" algn="r"/>
              </a:tabLst>
              <a:defRPr/>
            </a:lvl2pPr>
            <a:lvl3pPr>
              <a:tabLst>
                <a:tab pos="7421197" algn="r"/>
              </a:tabLst>
              <a:defRPr/>
            </a:lvl3pPr>
            <a:lvl4pPr>
              <a:tabLst>
                <a:tab pos="7421197" algn="r"/>
              </a:tabLst>
              <a:defRPr/>
            </a:lvl4pPr>
            <a:lvl5pPr>
              <a:tabLst>
                <a:tab pos="5546202" algn="r"/>
              </a:tabLst>
              <a:defRPr baseline="0"/>
            </a:lvl5pPr>
            <a:lvl6pPr>
              <a:tabLst>
                <a:tab pos="7421197" algn="r"/>
              </a:tabLst>
              <a:defRPr/>
            </a:lvl6pPr>
            <a:lvl7pPr>
              <a:tabLst>
                <a:tab pos="7421197" algn="r"/>
              </a:tabLst>
              <a:defRPr/>
            </a:lvl7pPr>
            <a:lvl8pPr>
              <a:tabLst>
                <a:tab pos="7421197" algn="r"/>
              </a:tabLst>
              <a:defRPr/>
            </a:lvl8pPr>
            <a:lvl9pPr>
              <a:tabLst>
                <a:tab pos="7421197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9795" y="350132"/>
            <a:ext cx="9801628" cy="7702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9794" y="350133"/>
            <a:ext cx="9809052" cy="7702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778283" y="1876708"/>
            <a:ext cx="5470563" cy="516094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39794" y="1836443"/>
            <a:ext cx="3906919" cy="5201211"/>
          </a:xfrm>
          <a:prstGeom prst="rect">
            <a:avLst/>
          </a:prstGeom>
        </p:spPr>
        <p:txBody>
          <a:bodyPr/>
          <a:lstStyle>
            <a:lvl1pPr>
              <a:tabLst>
                <a:tab pos="5546202" algn="r"/>
              </a:tabLst>
              <a:defRPr/>
            </a:lvl1pPr>
            <a:lvl2pPr>
              <a:tabLst>
                <a:tab pos="5546202" algn="r"/>
              </a:tabLst>
              <a:defRPr/>
            </a:lvl2pPr>
            <a:lvl3pPr>
              <a:tabLst>
                <a:tab pos="5546202" algn="r"/>
              </a:tabLst>
              <a:defRPr/>
            </a:lvl3pPr>
            <a:lvl4pPr>
              <a:tabLst>
                <a:tab pos="5546202" algn="r"/>
              </a:tabLst>
              <a:defRPr/>
            </a:lvl4pPr>
            <a:lvl5pPr>
              <a:tabLst>
                <a:tab pos="554620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794" y="350133"/>
            <a:ext cx="9809052" cy="77029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39794" y="1836443"/>
            <a:ext cx="9788639" cy="52012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3" y="718571"/>
            <a:ext cx="9785951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9793" y="350131"/>
            <a:ext cx="9785951" cy="3684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39794" y="1836443"/>
            <a:ext cx="9788639" cy="51983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182801" y="801940"/>
            <a:ext cx="6312188" cy="5955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9794" y="6466942"/>
            <a:ext cx="4904524" cy="55761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985" b="1">
                <a:solidFill>
                  <a:schemeClr val="tx1"/>
                </a:solidFill>
              </a:defRPr>
            </a:lvl1pPr>
            <a:lvl2pPr marL="0" indent="0" algn="l">
              <a:buNone/>
              <a:defRPr sz="1764" b="0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9794" y="7037652"/>
            <a:ext cx="4904525" cy="329124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3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439792" y="416850"/>
            <a:ext cx="1892808" cy="359839"/>
            <a:chOff x="439792" y="416850"/>
            <a:chExt cx="1892808" cy="359839"/>
          </a:xfrm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2231035" y="674673"/>
              <a:ext cx="101565" cy="10201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439792" y="418705"/>
              <a:ext cx="288076" cy="352418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1030718" y="416850"/>
              <a:ext cx="86792" cy="35427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152596" y="504028"/>
              <a:ext cx="251143" cy="270806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438825" y="507737"/>
              <a:ext cx="86792" cy="26338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438825" y="416850"/>
              <a:ext cx="86792" cy="5935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560703" y="424269"/>
              <a:ext cx="184664" cy="350564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761988" y="424269"/>
              <a:ext cx="184664" cy="350564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965119" y="504028"/>
              <a:ext cx="245603" cy="270806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753721" y="504028"/>
              <a:ext cx="243757" cy="270806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50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3" y="718571"/>
            <a:ext cx="9785951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39793" y="350131"/>
            <a:ext cx="9785951" cy="3684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39794" y="1874957"/>
            <a:ext cx="9788639" cy="5159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764"/>
            </a:lvl1pPr>
            <a:lvl2pPr>
              <a:defRPr sz="1764"/>
            </a:lvl2pPr>
            <a:lvl3pPr>
              <a:defRPr sz="1764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3" y="718571"/>
            <a:ext cx="9809052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9793" y="350131"/>
            <a:ext cx="9809052" cy="3684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39795" y="2262900"/>
            <a:ext cx="9809051" cy="4487217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39795" y="1836444"/>
            <a:ext cx="9809051" cy="4324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39794" y="6750118"/>
            <a:ext cx="9809052" cy="28753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4" y="718571"/>
            <a:ext cx="9809052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9793" y="350131"/>
            <a:ext cx="9809052" cy="3684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41853" y="2262899"/>
            <a:ext cx="3111864" cy="4487218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39793" y="1836444"/>
            <a:ext cx="3123087" cy="4324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772570" y="2262899"/>
            <a:ext cx="3122443" cy="4487218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772571" y="1836444"/>
            <a:ext cx="3122442" cy="4324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7124353" y="2262899"/>
            <a:ext cx="3124492" cy="4487218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7124353" y="1829668"/>
            <a:ext cx="3124493" cy="4391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39792" y="6750118"/>
            <a:ext cx="9788642" cy="28753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9793" y="350131"/>
            <a:ext cx="9821299" cy="3684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3" y="718571"/>
            <a:ext cx="9821299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39794" y="1836443"/>
            <a:ext cx="4651362" cy="5201208"/>
          </a:xfrm>
          <a:prstGeom prst="rect">
            <a:avLst/>
          </a:prstGeom>
        </p:spPr>
        <p:txBody>
          <a:bodyPr/>
          <a:lstStyle>
            <a:lvl1pPr>
              <a:tabLst>
                <a:tab pos="5546202" algn="r"/>
              </a:tabLst>
              <a:defRPr/>
            </a:lvl1pPr>
            <a:lvl2pPr>
              <a:tabLst>
                <a:tab pos="5546202" algn="r"/>
              </a:tabLst>
              <a:defRPr/>
            </a:lvl2pPr>
            <a:lvl3pPr>
              <a:tabLst>
                <a:tab pos="5546202" algn="r"/>
              </a:tabLst>
              <a:defRPr/>
            </a:lvl3pPr>
            <a:lvl4pPr>
              <a:tabLst>
                <a:tab pos="5546202" algn="r"/>
              </a:tabLst>
              <a:defRPr/>
            </a:lvl4pPr>
            <a:lvl5pPr>
              <a:tabLst>
                <a:tab pos="554620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594649" y="1836443"/>
            <a:ext cx="4666444" cy="5201208"/>
          </a:xfrm>
          <a:prstGeom prst="rect">
            <a:avLst/>
          </a:prstGeom>
        </p:spPr>
        <p:txBody>
          <a:bodyPr/>
          <a:lstStyle>
            <a:lvl1pPr>
              <a:tabLst>
                <a:tab pos="5546202" algn="r"/>
              </a:tabLst>
              <a:defRPr/>
            </a:lvl1pPr>
            <a:lvl2pPr>
              <a:tabLst>
                <a:tab pos="5546202" algn="r"/>
              </a:tabLst>
              <a:defRPr/>
            </a:lvl2pPr>
            <a:lvl3pPr>
              <a:tabLst>
                <a:tab pos="5546202" algn="r"/>
              </a:tabLst>
              <a:defRPr/>
            </a:lvl3pPr>
            <a:lvl4pPr>
              <a:tabLst>
                <a:tab pos="5546202" algn="r"/>
              </a:tabLst>
              <a:defRPr/>
            </a:lvl4pPr>
            <a:lvl5pPr>
              <a:tabLst>
                <a:tab pos="554620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3" y="718571"/>
            <a:ext cx="9809052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9793" y="350132"/>
            <a:ext cx="9809052" cy="3684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39793" y="1836443"/>
            <a:ext cx="4651364" cy="520120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546202" algn="r"/>
              </a:tabLst>
              <a:defRPr sz="1764"/>
            </a:lvl1pPr>
            <a:lvl2pPr>
              <a:tabLst>
                <a:tab pos="5546202" algn="r"/>
              </a:tabLst>
              <a:defRPr sz="1764"/>
            </a:lvl2pPr>
            <a:lvl3pPr>
              <a:tabLst>
                <a:tab pos="5546202" algn="r"/>
              </a:tabLst>
              <a:defRPr sz="1764"/>
            </a:lvl3pPr>
            <a:lvl4pPr>
              <a:tabLst>
                <a:tab pos="5546202" algn="r"/>
              </a:tabLst>
              <a:defRPr sz="1764"/>
            </a:lvl4pPr>
            <a:lvl5pPr>
              <a:tabLst>
                <a:tab pos="5546202" algn="r"/>
              </a:tabLst>
              <a:defRPr baseline="0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5596806" y="1836443"/>
            <a:ext cx="4652039" cy="520120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546202" algn="r"/>
              </a:tabLst>
              <a:defRPr sz="1764"/>
            </a:lvl1pPr>
            <a:lvl2pPr>
              <a:tabLst>
                <a:tab pos="5546202" algn="r"/>
              </a:tabLst>
              <a:defRPr sz="1764"/>
            </a:lvl2pPr>
            <a:lvl3pPr>
              <a:tabLst>
                <a:tab pos="5546202" algn="r"/>
              </a:tabLst>
              <a:defRPr sz="1764"/>
            </a:lvl3pPr>
            <a:lvl4pPr>
              <a:tabLst>
                <a:tab pos="5546202" algn="r"/>
              </a:tabLst>
              <a:defRPr sz="1764"/>
            </a:lvl4pPr>
            <a:lvl5pPr>
              <a:tabLst>
                <a:tab pos="5546202" algn="r"/>
              </a:tabLst>
              <a:defRPr baseline="0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39794" y="1836443"/>
            <a:ext cx="4694835" cy="4913675"/>
          </a:xfrm>
          <a:prstGeom prst="rect">
            <a:avLst/>
          </a:prstGeom>
        </p:spPr>
        <p:txBody>
          <a:bodyPr/>
          <a:lstStyle>
            <a:lvl1pPr>
              <a:tabLst>
                <a:tab pos="5546202" algn="r"/>
              </a:tabLst>
              <a:defRPr/>
            </a:lvl1pPr>
            <a:lvl2pPr>
              <a:tabLst>
                <a:tab pos="5546202" algn="r"/>
              </a:tabLst>
              <a:defRPr/>
            </a:lvl2pPr>
            <a:lvl3pPr>
              <a:tabLst>
                <a:tab pos="5546202" algn="r"/>
              </a:tabLst>
              <a:defRPr/>
            </a:lvl3pPr>
            <a:lvl4pPr>
              <a:tabLst>
                <a:tab pos="5546202" algn="r"/>
              </a:tabLst>
              <a:defRPr/>
            </a:lvl4pPr>
            <a:lvl5pPr>
              <a:tabLst>
                <a:tab pos="554620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559304" y="2343417"/>
            <a:ext cx="4689542" cy="44067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559304" y="1836443"/>
            <a:ext cx="4689542" cy="46392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3" y="718571"/>
            <a:ext cx="9809052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9793" y="350131"/>
            <a:ext cx="9809052" cy="3684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39793" y="6750118"/>
            <a:ext cx="9809052" cy="28753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559302" y="2343417"/>
            <a:ext cx="4689543" cy="44067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559303" y="1836443"/>
            <a:ext cx="4689543" cy="46392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3" y="718571"/>
            <a:ext cx="9809052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9793" y="350131"/>
            <a:ext cx="9809052" cy="3684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39792" y="6750118"/>
            <a:ext cx="9788642" cy="287535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10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39794" y="2343417"/>
            <a:ext cx="4680718" cy="4406700"/>
          </a:xfrm>
        </p:spPr>
        <p:txBody>
          <a:bodyPr/>
          <a:lstStyle/>
          <a:p>
            <a:r>
              <a:rPr lang="en-US" noProof="0" dirty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39792" y="1836443"/>
            <a:ext cx="4680719" cy="463924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9795" y="350131"/>
            <a:ext cx="9809051" cy="3684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39793" y="1836443"/>
            <a:ext cx="3885377" cy="5201211"/>
          </a:xfrm>
          <a:prstGeom prst="rect">
            <a:avLst/>
          </a:prstGeom>
        </p:spPr>
        <p:txBody>
          <a:bodyPr/>
          <a:lstStyle>
            <a:lvl1pPr>
              <a:tabLst>
                <a:tab pos="5546202" algn="r"/>
              </a:tabLst>
              <a:defRPr/>
            </a:lvl1pPr>
            <a:lvl2pPr>
              <a:tabLst>
                <a:tab pos="5546202" algn="r"/>
              </a:tabLst>
              <a:defRPr/>
            </a:lvl2pPr>
            <a:lvl3pPr>
              <a:tabLst>
                <a:tab pos="5546202" algn="r"/>
              </a:tabLst>
              <a:defRPr/>
            </a:lvl3pPr>
            <a:lvl4pPr>
              <a:tabLst>
                <a:tab pos="5546202" algn="r"/>
              </a:tabLst>
              <a:defRPr/>
            </a:lvl4pPr>
            <a:lvl5pPr>
              <a:tabLst>
                <a:tab pos="554620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778282" y="1874958"/>
            <a:ext cx="5470563" cy="5162695"/>
          </a:xfrm>
          <a:prstGeom prst="rect">
            <a:avLst/>
          </a:prstGeom>
        </p:spPr>
        <p:txBody>
          <a:bodyPr/>
          <a:lstStyle>
            <a:lvl1pPr>
              <a:tabLst>
                <a:tab pos="5546202" algn="r"/>
              </a:tabLst>
              <a:defRPr/>
            </a:lvl1pPr>
            <a:lvl2pPr>
              <a:tabLst>
                <a:tab pos="5546202" algn="r"/>
              </a:tabLst>
              <a:defRPr/>
            </a:lvl2pPr>
            <a:lvl3pPr>
              <a:tabLst>
                <a:tab pos="5546202" algn="r"/>
              </a:tabLst>
              <a:defRPr/>
            </a:lvl3pPr>
            <a:lvl4pPr>
              <a:tabLst>
                <a:tab pos="5546202" algn="r"/>
              </a:tabLst>
              <a:defRPr/>
            </a:lvl4pPr>
            <a:lvl5pPr>
              <a:tabLst>
                <a:tab pos="554620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3" y="718571"/>
            <a:ext cx="9809052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9794" y="350132"/>
            <a:ext cx="9809052" cy="3684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643474" y="1829155"/>
            <a:ext cx="3605371" cy="5208499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546202" algn="r"/>
              </a:tabLst>
              <a:defRPr sz="2647">
                <a:solidFill>
                  <a:schemeClr val="accent3"/>
                </a:solidFill>
              </a:defRPr>
            </a:lvl1pPr>
            <a:lvl2pPr>
              <a:tabLst>
                <a:tab pos="5546202" algn="r"/>
              </a:tabLst>
              <a:defRPr/>
            </a:lvl2pPr>
            <a:lvl3pPr>
              <a:tabLst>
                <a:tab pos="5546202" algn="r"/>
              </a:tabLst>
              <a:defRPr/>
            </a:lvl3pPr>
            <a:lvl4pPr>
              <a:tabLst>
                <a:tab pos="5546202" algn="r"/>
              </a:tabLst>
              <a:defRPr/>
            </a:lvl4pPr>
            <a:lvl5pPr>
              <a:tabLst>
                <a:tab pos="554620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39794" y="1836443"/>
            <a:ext cx="5704068" cy="5201209"/>
          </a:xfrm>
          <a:prstGeom prst="rect">
            <a:avLst/>
          </a:prstGeom>
        </p:spPr>
        <p:txBody>
          <a:bodyPr/>
          <a:lstStyle>
            <a:lvl1pPr>
              <a:tabLst>
                <a:tab pos="5546202" algn="r"/>
              </a:tabLst>
              <a:defRPr/>
            </a:lvl1pPr>
            <a:lvl2pPr>
              <a:tabLst>
                <a:tab pos="5546202" algn="r"/>
              </a:tabLst>
              <a:defRPr/>
            </a:lvl2pPr>
            <a:lvl3pPr>
              <a:tabLst>
                <a:tab pos="5546202" algn="r"/>
              </a:tabLst>
              <a:defRPr/>
            </a:lvl3pPr>
            <a:lvl4pPr>
              <a:tabLst>
                <a:tab pos="5546202" algn="r"/>
              </a:tabLst>
              <a:defRPr/>
            </a:lvl4pPr>
            <a:lvl5pPr>
              <a:tabLst>
                <a:tab pos="554620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5" y="718571"/>
            <a:ext cx="9809051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794" y="350132"/>
            <a:ext cx="9809052" cy="368438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39792" y="1874957"/>
            <a:ext cx="2377591" cy="13895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916946" y="1874957"/>
            <a:ext cx="2377591" cy="13895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5394100" y="1874957"/>
            <a:ext cx="2377591" cy="13895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871255" y="1874957"/>
            <a:ext cx="2377591" cy="13895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9793" y="3445298"/>
            <a:ext cx="2385015" cy="359235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94534" indent="-19453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0"/>
              </a:spcAft>
              <a:defRPr baseline="0"/>
            </a:lvl5pPr>
            <a:lvl6pPr marL="393038" indent="-19453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0"/>
              </a:spcAft>
              <a:defRPr/>
            </a:lvl7pPr>
            <a:lvl8pPr marL="393038" indent="-194534">
              <a:spcAft>
                <a:spcPts val="0"/>
              </a:spcAft>
              <a:defRPr/>
            </a:lvl8pPr>
            <a:lvl9pPr marL="393038" indent="-19453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391628" y="3441274"/>
            <a:ext cx="2377591" cy="359637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94534" indent="-19453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0"/>
              </a:spcAft>
              <a:defRPr baseline="0"/>
            </a:lvl5pPr>
            <a:lvl6pPr marL="393038" indent="-19453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0"/>
              </a:spcAft>
              <a:defRPr/>
            </a:lvl7pPr>
            <a:lvl8pPr marL="393038" indent="-194534">
              <a:spcAft>
                <a:spcPts val="0"/>
              </a:spcAft>
              <a:defRPr/>
            </a:lvl8pPr>
            <a:lvl9pPr marL="393038" indent="-19453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919422" y="3445298"/>
            <a:ext cx="2377591" cy="3592353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94534" indent="-19453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0"/>
              </a:spcAft>
              <a:defRPr baseline="0"/>
            </a:lvl5pPr>
            <a:lvl6pPr marL="393038" indent="-19453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0"/>
              </a:spcAft>
              <a:defRPr/>
            </a:lvl7pPr>
            <a:lvl8pPr marL="393038" indent="-194534">
              <a:spcAft>
                <a:spcPts val="0"/>
              </a:spcAft>
              <a:defRPr/>
            </a:lvl8pPr>
            <a:lvl9pPr marL="393038" indent="-19453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7884246" y="3427994"/>
            <a:ext cx="2364600" cy="3609656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94534" indent="-19453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0"/>
              </a:spcAft>
              <a:defRPr baseline="0"/>
            </a:lvl5pPr>
            <a:lvl6pPr marL="393038" indent="-19453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0"/>
              </a:spcAft>
              <a:defRPr/>
            </a:lvl7pPr>
            <a:lvl8pPr marL="393038" indent="-194534">
              <a:spcAft>
                <a:spcPts val="0"/>
              </a:spcAft>
              <a:defRPr/>
            </a:lvl8pPr>
            <a:lvl9pPr marL="393038" indent="-19453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9793" y="718571"/>
            <a:ext cx="9809053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924647" y="1508600"/>
            <a:ext cx="4839344" cy="45655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632"/>
              </a:lnSpc>
              <a:defRPr sz="397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41844" y="6466942"/>
            <a:ext cx="4902475" cy="55761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764">
                <a:solidFill>
                  <a:schemeClr val="bg1"/>
                </a:solidFill>
              </a:defRPr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9794" y="7037652"/>
            <a:ext cx="4904525" cy="329124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3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39792" y="416850"/>
            <a:ext cx="1892808" cy="359839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5008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50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794" y="350132"/>
            <a:ext cx="9809052" cy="368438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41853" y="1882632"/>
            <a:ext cx="4818303" cy="595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213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56611" y="1874957"/>
            <a:ext cx="4799951" cy="672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213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41853" y="4482982"/>
            <a:ext cx="4818303" cy="595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213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456611" y="4482982"/>
            <a:ext cx="4799951" cy="595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213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41853" y="2073457"/>
            <a:ext cx="1725331" cy="16277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5456611" y="2073457"/>
            <a:ext cx="1725331" cy="16277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41853" y="4693657"/>
            <a:ext cx="1725331" cy="16277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5456611" y="4693657"/>
            <a:ext cx="1725331" cy="16277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352590" y="2073457"/>
            <a:ext cx="2882566" cy="21438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7361204" y="2073457"/>
            <a:ext cx="2895358" cy="21438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352590" y="4693657"/>
            <a:ext cx="2882566" cy="21438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7361204" y="4693657"/>
            <a:ext cx="2895358" cy="21438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3" y="718571"/>
            <a:ext cx="9785951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794" y="350134"/>
            <a:ext cx="9809052" cy="368437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39794" y="1874958"/>
            <a:ext cx="3239993" cy="217431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019151" y="1874958"/>
            <a:ext cx="3229695" cy="217431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746174" y="1874958"/>
            <a:ext cx="3206591" cy="2174319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39793" y="4226093"/>
            <a:ext cx="3229692" cy="23105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741024" y="4226093"/>
            <a:ext cx="3206591" cy="23105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7019151" y="4226093"/>
            <a:ext cx="3229695" cy="23105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39793" y="718571"/>
            <a:ext cx="9785951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3" y="718571"/>
            <a:ext cx="9809052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9793" y="350131"/>
            <a:ext cx="9809052" cy="3684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41853" y="2048842"/>
            <a:ext cx="4792725" cy="1869705"/>
          </a:xfrm>
        </p:spPr>
        <p:txBody>
          <a:bodyPr/>
          <a:lstStyle>
            <a:lvl1pPr>
              <a:spcAft>
                <a:spcPts val="110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103"/>
              </a:spcAft>
              <a:defRPr/>
            </a:lvl2pPr>
            <a:lvl3pPr marL="0" indent="0">
              <a:spcAft>
                <a:spcPts val="1103"/>
              </a:spcAft>
              <a:buNone/>
              <a:defRPr/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1103"/>
              </a:spcAft>
              <a:defRPr baseline="0"/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1103"/>
              </a:spcAft>
              <a:defRPr/>
            </a:lvl7pPr>
            <a:lvl8pPr marL="393038" indent="-194534">
              <a:spcAft>
                <a:spcPts val="1103"/>
              </a:spcAft>
              <a:defRPr/>
            </a:lvl8pPr>
            <a:lvl9pPr marL="393038" indent="-194534">
              <a:spcAft>
                <a:spcPts val="110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5475994" y="2048842"/>
            <a:ext cx="4772852" cy="1869705"/>
          </a:xfrm>
        </p:spPr>
        <p:txBody>
          <a:bodyPr/>
          <a:lstStyle>
            <a:lvl1pPr>
              <a:spcAft>
                <a:spcPts val="110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103"/>
              </a:spcAft>
              <a:defRPr/>
            </a:lvl2pPr>
            <a:lvl3pPr marL="0" indent="0">
              <a:spcAft>
                <a:spcPts val="1103"/>
              </a:spcAft>
              <a:buNone/>
              <a:defRPr/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1103"/>
              </a:spcAft>
              <a:defRPr baseline="0"/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1103"/>
              </a:spcAft>
              <a:defRPr/>
            </a:lvl7pPr>
            <a:lvl8pPr marL="393038" indent="-194534">
              <a:spcAft>
                <a:spcPts val="1103"/>
              </a:spcAft>
              <a:defRPr/>
            </a:lvl8pPr>
            <a:lvl9pPr marL="393038" indent="-194534">
              <a:spcAft>
                <a:spcPts val="110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794" y="350134"/>
            <a:ext cx="9809052" cy="368437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41853" y="1880653"/>
            <a:ext cx="4792725" cy="584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103"/>
              </a:spcAft>
            </a:pPr>
            <a:endParaRPr lang="en-US" sz="1213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75994" y="1880653"/>
            <a:ext cx="4780568" cy="584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103"/>
              </a:spcAft>
            </a:pPr>
            <a:endParaRPr lang="en-US" sz="1213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181379" y="2055486"/>
            <a:ext cx="1060979" cy="605728"/>
          </a:xfrm>
        </p:spPr>
        <p:txBody>
          <a:bodyPr/>
          <a:lstStyle>
            <a:lvl1pPr marL="0" marR="0" indent="0" algn="l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3"/>
              </a:spcAft>
              <a:buClrTx/>
              <a:buSzTx/>
              <a:buFont typeface="Arial" panose="020B0604020202020204" pitchFamily="34" charset="0"/>
              <a:buNone/>
              <a:tabLst/>
              <a:defRPr sz="993"/>
            </a:lvl1pPr>
          </a:lstStyle>
          <a:p>
            <a:pPr>
              <a:spcBef>
                <a:spcPct val="0"/>
              </a:spcBef>
            </a:pPr>
            <a:r>
              <a:rPr lang="en-US" sz="1323" noProof="0" dirty="0">
                <a:solidFill>
                  <a:schemeClr val="bg1"/>
                </a:solidFill>
              </a:rPr>
              <a:t>Co-brand</a:t>
            </a:r>
            <a:br>
              <a:rPr lang="en-US" sz="1323" noProof="0" dirty="0">
                <a:solidFill>
                  <a:schemeClr val="bg1"/>
                </a:solidFill>
              </a:rPr>
            </a:br>
            <a:r>
              <a:rPr lang="en-US" sz="1323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9139186" y="2048843"/>
            <a:ext cx="1090747" cy="605728"/>
          </a:xfrm>
        </p:spPr>
        <p:txBody>
          <a:bodyPr/>
          <a:lstStyle>
            <a:lvl1pPr marL="0" marR="0" indent="0" algn="l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3"/>
              </a:spcAft>
              <a:buClrTx/>
              <a:buSzTx/>
              <a:buFont typeface="Arial" panose="020B0604020202020204" pitchFamily="34" charset="0"/>
              <a:buNone/>
              <a:tabLst/>
              <a:defRPr sz="993"/>
            </a:lvl1pPr>
          </a:lstStyle>
          <a:p>
            <a:pPr>
              <a:spcBef>
                <a:spcPct val="0"/>
              </a:spcBef>
            </a:pPr>
            <a:r>
              <a:rPr lang="en-US" sz="1323" noProof="0" dirty="0">
                <a:solidFill>
                  <a:schemeClr val="bg1"/>
                </a:solidFill>
              </a:rPr>
              <a:t>Co-brand</a:t>
            </a:r>
            <a:br>
              <a:rPr lang="en-US" sz="1323" noProof="0" dirty="0">
                <a:solidFill>
                  <a:schemeClr val="bg1"/>
                </a:solidFill>
              </a:rPr>
            </a:br>
            <a:r>
              <a:rPr lang="en-US" sz="1323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3" y="718571"/>
            <a:ext cx="9809052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41853" y="2048842"/>
            <a:ext cx="4794581" cy="1869705"/>
          </a:xfrm>
        </p:spPr>
        <p:txBody>
          <a:bodyPr/>
          <a:lstStyle>
            <a:lvl1pPr>
              <a:spcAft>
                <a:spcPts val="110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103"/>
              </a:spcAft>
              <a:defRPr/>
            </a:lvl2pPr>
            <a:lvl3pPr marL="0" indent="0">
              <a:spcAft>
                <a:spcPts val="1103"/>
              </a:spcAft>
              <a:buNone/>
              <a:defRPr/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1103"/>
              </a:spcAft>
              <a:defRPr baseline="0"/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1103"/>
              </a:spcAft>
              <a:defRPr/>
            </a:lvl7pPr>
            <a:lvl8pPr marL="393038" indent="-194534">
              <a:spcAft>
                <a:spcPts val="1103"/>
              </a:spcAft>
              <a:defRPr/>
            </a:lvl8pPr>
            <a:lvl9pPr marL="393038" indent="-194534">
              <a:spcAft>
                <a:spcPts val="110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5475994" y="2048842"/>
            <a:ext cx="4782068" cy="1869705"/>
          </a:xfrm>
        </p:spPr>
        <p:txBody>
          <a:bodyPr/>
          <a:lstStyle>
            <a:lvl1pPr>
              <a:spcAft>
                <a:spcPts val="110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103"/>
              </a:spcAft>
              <a:defRPr/>
            </a:lvl2pPr>
            <a:lvl3pPr marL="0" indent="0">
              <a:spcAft>
                <a:spcPts val="1103"/>
              </a:spcAft>
              <a:buNone/>
              <a:defRPr/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1103"/>
              </a:spcAft>
              <a:defRPr baseline="0"/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1103"/>
              </a:spcAft>
              <a:defRPr/>
            </a:lvl7pPr>
            <a:lvl8pPr marL="393038" indent="-194534">
              <a:spcAft>
                <a:spcPts val="1103"/>
              </a:spcAft>
              <a:defRPr/>
            </a:lvl8pPr>
            <a:lvl9pPr marL="393038" indent="-194534">
              <a:spcAft>
                <a:spcPts val="110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794" y="350134"/>
            <a:ext cx="9809052" cy="368437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41853" y="1880653"/>
            <a:ext cx="4792725" cy="584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103"/>
              </a:spcAft>
            </a:pPr>
            <a:endParaRPr lang="en-US" sz="1213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75994" y="1880653"/>
            <a:ext cx="4780568" cy="584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103"/>
              </a:spcAft>
            </a:pPr>
            <a:endParaRPr lang="en-US" sz="1213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9139186" y="2048843"/>
            <a:ext cx="1090747" cy="605728"/>
          </a:xfrm>
        </p:spPr>
        <p:txBody>
          <a:bodyPr/>
          <a:lstStyle>
            <a:lvl1pPr marL="0" marR="0" indent="0" algn="l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3"/>
              </a:spcAft>
              <a:buClrTx/>
              <a:buSzTx/>
              <a:buFont typeface="Arial" panose="020B0604020202020204" pitchFamily="34" charset="0"/>
              <a:buNone/>
              <a:tabLst/>
              <a:defRPr sz="993"/>
            </a:lvl1pPr>
          </a:lstStyle>
          <a:p>
            <a:pPr>
              <a:spcBef>
                <a:spcPct val="0"/>
              </a:spcBef>
            </a:pPr>
            <a:r>
              <a:rPr lang="en-US" sz="1323" noProof="0" dirty="0">
                <a:solidFill>
                  <a:schemeClr val="bg1"/>
                </a:solidFill>
              </a:rPr>
              <a:t>Co-brand</a:t>
            </a:r>
            <a:br>
              <a:rPr lang="en-US" sz="1323" noProof="0" dirty="0">
                <a:solidFill>
                  <a:schemeClr val="bg1"/>
                </a:solidFill>
              </a:rPr>
            </a:br>
            <a:r>
              <a:rPr lang="en-US" sz="1323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41853" y="4686455"/>
            <a:ext cx="4792725" cy="1869705"/>
          </a:xfrm>
        </p:spPr>
        <p:txBody>
          <a:bodyPr/>
          <a:lstStyle>
            <a:lvl1pPr>
              <a:spcAft>
                <a:spcPts val="110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103"/>
              </a:spcAft>
              <a:defRPr/>
            </a:lvl2pPr>
            <a:lvl3pPr marL="0" indent="0">
              <a:spcAft>
                <a:spcPts val="1103"/>
              </a:spcAft>
              <a:buNone/>
              <a:defRPr/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1103"/>
              </a:spcAft>
              <a:defRPr baseline="0"/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1103"/>
              </a:spcAft>
              <a:defRPr/>
            </a:lvl7pPr>
            <a:lvl8pPr marL="393038" indent="-194534">
              <a:spcAft>
                <a:spcPts val="1103"/>
              </a:spcAft>
              <a:defRPr/>
            </a:lvl8pPr>
            <a:lvl9pPr marL="393038" indent="-194534">
              <a:spcAft>
                <a:spcPts val="110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5475993" y="4686455"/>
            <a:ext cx="4780569" cy="1869705"/>
          </a:xfrm>
        </p:spPr>
        <p:txBody>
          <a:bodyPr/>
          <a:lstStyle>
            <a:lvl1pPr>
              <a:spcAft>
                <a:spcPts val="110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103"/>
              </a:spcAft>
              <a:defRPr/>
            </a:lvl2pPr>
            <a:lvl3pPr marL="0" indent="0">
              <a:spcAft>
                <a:spcPts val="1103"/>
              </a:spcAft>
              <a:buNone/>
              <a:defRPr/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1103"/>
              </a:spcAft>
              <a:defRPr baseline="0"/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1103"/>
              </a:spcAft>
              <a:defRPr/>
            </a:lvl7pPr>
            <a:lvl8pPr marL="393038" indent="-194534">
              <a:spcAft>
                <a:spcPts val="1103"/>
              </a:spcAft>
              <a:defRPr/>
            </a:lvl8pPr>
            <a:lvl9pPr marL="393038" indent="-194534">
              <a:spcAft>
                <a:spcPts val="110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41854" y="4525268"/>
            <a:ext cx="4794582" cy="595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103"/>
              </a:spcAft>
            </a:pPr>
            <a:endParaRPr lang="en-US" sz="1213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5475993" y="4525268"/>
            <a:ext cx="4773343" cy="595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103"/>
              </a:spcAft>
            </a:pPr>
            <a:endParaRPr lang="en-US" sz="1213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168230" y="4693099"/>
            <a:ext cx="1086557" cy="605728"/>
          </a:xfrm>
        </p:spPr>
        <p:txBody>
          <a:bodyPr/>
          <a:lstStyle>
            <a:lvl1pPr marL="0" marR="0" indent="0" algn="l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3"/>
              </a:spcAft>
              <a:buClrTx/>
              <a:buSzTx/>
              <a:buFont typeface="Arial" panose="020B0604020202020204" pitchFamily="34" charset="0"/>
              <a:buNone/>
              <a:tabLst/>
              <a:defRPr sz="993"/>
            </a:lvl1pPr>
          </a:lstStyle>
          <a:p>
            <a:pPr>
              <a:spcBef>
                <a:spcPct val="0"/>
              </a:spcBef>
            </a:pPr>
            <a:r>
              <a:rPr lang="en-US" sz="1323" noProof="0" dirty="0">
                <a:solidFill>
                  <a:schemeClr val="bg1"/>
                </a:solidFill>
              </a:rPr>
              <a:t>Co-brand</a:t>
            </a:r>
            <a:br>
              <a:rPr lang="en-US" sz="1323" noProof="0" dirty="0">
                <a:solidFill>
                  <a:schemeClr val="bg1"/>
                </a:solidFill>
              </a:rPr>
            </a:br>
            <a:r>
              <a:rPr lang="en-US" sz="1323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9139186" y="4686456"/>
            <a:ext cx="1090746" cy="605728"/>
          </a:xfrm>
        </p:spPr>
        <p:txBody>
          <a:bodyPr/>
          <a:lstStyle>
            <a:lvl1pPr marL="0" marR="0" indent="0" algn="l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3"/>
              </a:spcAft>
              <a:buClrTx/>
              <a:buSzTx/>
              <a:buFont typeface="Arial" panose="020B0604020202020204" pitchFamily="34" charset="0"/>
              <a:buNone/>
              <a:tabLst/>
              <a:defRPr sz="993"/>
            </a:lvl1pPr>
          </a:lstStyle>
          <a:p>
            <a:pPr>
              <a:spcBef>
                <a:spcPct val="0"/>
              </a:spcBef>
            </a:pPr>
            <a:r>
              <a:rPr lang="en-US" sz="1323" noProof="0" dirty="0">
                <a:solidFill>
                  <a:schemeClr val="bg1"/>
                </a:solidFill>
              </a:rPr>
              <a:t>Co-brand</a:t>
            </a:r>
            <a:br>
              <a:rPr lang="en-US" sz="1323" noProof="0" dirty="0">
                <a:solidFill>
                  <a:schemeClr val="bg1"/>
                </a:solidFill>
              </a:rPr>
            </a:br>
            <a:r>
              <a:rPr lang="en-US" sz="1323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4" y="718571"/>
            <a:ext cx="9816768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181379" y="2055486"/>
            <a:ext cx="1060979" cy="605728"/>
          </a:xfrm>
        </p:spPr>
        <p:txBody>
          <a:bodyPr/>
          <a:lstStyle>
            <a:lvl1pPr marL="0" marR="0" indent="0" algn="l" defTabSz="1008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03"/>
              </a:spcAft>
              <a:buClrTx/>
              <a:buSzTx/>
              <a:buFont typeface="Arial" panose="020B0604020202020204" pitchFamily="34" charset="0"/>
              <a:buNone/>
              <a:tabLst/>
              <a:defRPr sz="993"/>
            </a:lvl1pPr>
          </a:lstStyle>
          <a:p>
            <a:pPr>
              <a:spcBef>
                <a:spcPct val="0"/>
              </a:spcBef>
            </a:pPr>
            <a:r>
              <a:rPr lang="en-US" sz="1323" noProof="0" dirty="0">
                <a:solidFill>
                  <a:schemeClr val="bg1"/>
                </a:solidFill>
              </a:rPr>
              <a:t>Co-brand</a:t>
            </a:r>
            <a:br>
              <a:rPr lang="en-US" sz="1323" noProof="0" dirty="0">
                <a:solidFill>
                  <a:schemeClr val="bg1"/>
                </a:solidFill>
              </a:rPr>
            </a:br>
            <a:r>
              <a:rPr lang="en-US" sz="1323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794" y="350134"/>
            <a:ext cx="9809052" cy="368437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7313" y="1881304"/>
            <a:ext cx="3117622" cy="595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213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41853" y="1874958"/>
            <a:ext cx="3121026" cy="658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213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7114625" y="1881304"/>
            <a:ext cx="3141938" cy="595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213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92320" y="2041728"/>
            <a:ext cx="3103998" cy="424101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103"/>
              </a:spcAft>
              <a:defRPr/>
            </a:lvl2pPr>
            <a:lvl3pPr marL="0" indent="0">
              <a:spcAft>
                <a:spcPts val="1103"/>
              </a:spcAft>
              <a:buNone/>
              <a:defRPr/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1103"/>
              </a:spcAft>
              <a:defRPr baseline="0"/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1103"/>
              </a:spcAft>
              <a:defRPr/>
            </a:lvl7pPr>
            <a:lvl8pPr marL="393038" indent="-194534">
              <a:spcAft>
                <a:spcPts val="1103"/>
              </a:spcAft>
              <a:defRPr/>
            </a:lvl8pPr>
            <a:lvl9pPr marL="393038" indent="-194534">
              <a:spcAft>
                <a:spcPts val="110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41853" y="2041728"/>
            <a:ext cx="3121026" cy="424101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103"/>
              </a:spcAft>
              <a:defRPr/>
            </a:lvl2pPr>
            <a:lvl3pPr marL="0" indent="0">
              <a:spcAft>
                <a:spcPts val="1103"/>
              </a:spcAft>
              <a:buNone/>
              <a:defRPr/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1103"/>
              </a:spcAft>
              <a:defRPr baseline="0"/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1103"/>
              </a:spcAft>
              <a:defRPr/>
            </a:lvl7pPr>
            <a:lvl8pPr marL="393038" indent="-194534">
              <a:spcAft>
                <a:spcPts val="1103"/>
              </a:spcAft>
              <a:defRPr/>
            </a:lvl8pPr>
            <a:lvl9pPr marL="393038" indent="-194534">
              <a:spcAft>
                <a:spcPts val="110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125758" y="2041728"/>
            <a:ext cx="3130804" cy="424101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103"/>
              </a:spcAft>
              <a:defRPr/>
            </a:lvl2pPr>
            <a:lvl3pPr marL="0" indent="0">
              <a:spcAft>
                <a:spcPts val="1103"/>
              </a:spcAft>
              <a:buNone/>
              <a:defRPr/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1103"/>
              </a:spcAft>
              <a:defRPr baseline="0"/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1103"/>
              </a:spcAft>
              <a:defRPr/>
            </a:lvl7pPr>
            <a:lvl8pPr marL="393038" indent="-194534">
              <a:spcAft>
                <a:spcPts val="1103"/>
              </a:spcAft>
              <a:defRPr/>
            </a:lvl8pPr>
            <a:lvl9pPr marL="393038" indent="-194534">
              <a:spcAft>
                <a:spcPts val="110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3" y="718571"/>
            <a:ext cx="9785951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794" y="350134"/>
            <a:ext cx="9809052" cy="368437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41853" y="2818700"/>
            <a:ext cx="2272388" cy="374371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103"/>
              </a:spcAft>
              <a:defRPr/>
            </a:lvl2pPr>
            <a:lvl3pPr marL="0" indent="0">
              <a:spcAft>
                <a:spcPts val="1103"/>
              </a:spcAft>
              <a:buNone/>
              <a:defRPr/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1103"/>
              </a:spcAft>
              <a:defRPr baseline="0"/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1103"/>
              </a:spcAft>
              <a:defRPr/>
            </a:lvl7pPr>
            <a:lvl8pPr marL="393038" indent="-194534">
              <a:spcAft>
                <a:spcPts val="1103"/>
              </a:spcAft>
              <a:defRPr/>
            </a:lvl8pPr>
            <a:lvl9pPr marL="393038" indent="-194534">
              <a:spcAft>
                <a:spcPts val="110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975130" y="2818700"/>
            <a:ext cx="2272388" cy="374371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103"/>
              </a:spcAft>
              <a:defRPr/>
            </a:lvl2pPr>
            <a:lvl3pPr marL="0" indent="0">
              <a:spcAft>
                <a:spcPts val="1103"/>
              </a:spcAft>
              <a:buNone/>
              <a:defRPr/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1103"/>
              </a:spcAft>
              <a:defRPr baseline="0"/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1103"/>
              </a:spcAft>
              <a:defRPr/>
            </a:lvl7pPr>
            <a:lvl8pPr marL="393038" indent="-194534">
              <a:spcAft>
                <a:spcPts val="1103"/>
              </a:spcAft>
              <a:defRPr/>
            </a:lvl8pPr>
            <a:lvl9pPr marL="393038" indent="-194534">
              <a:spcAft>
                <a:spcPts val="110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952945" y="2818700"/>
            <a:ext cx="2272388" cy="374371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103"/>
              </a:spcAft>
              <a:defRPr/>
            </a:lvl2pPr>
            <a:lvl3pPr marL="0" indent="0">
              <a:spcAft>
                <a:spcPts val="1103"/>
              </a:spcAft>
              <a:buNone/>
              <a:defRPr/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1103"/>
              </a:spcAft>
              <a:defRPr baseline="0"/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1103"/>
              </a:spcAft>
              <a:defRPr/>
            </a:lvl7pPr>
            <a:lvl8pPr marL="393038" indent="-194534">
              <a:spcAft>
                <a:spcPts val="1103"/>
              </a:spcAft>
              <a:defRPr/>
            </a:lvl8pPr>
            <a:lvl9pPr marL="393038" indent="-194534">
              <a:spcAft>
                <a:spcPts val="110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464038" y="2818700"/>
            <a:ext cx="2272388" cy="374371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103"/>
              </a:spcAft>
              <a:defRPr/>
            </a:lvl2pPr>
            <a:lvl3pPr marL="0" indent="0">
              <a:spcAft>
                <a:spcPts val="1103"/>
              </a:spcAft>
              <a:buNone/>
              <a:defRPr/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/>
            </a:lvl4pPr>
            <a:lvl5pPr marL="393038" indent="-194534">
              <a:spcAft>
                <a:spcPts val="1103"/>
              </a:spcAft>
              <a:defRPr baseline="0"/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/>
            </a:lvl6pPr>
            <a:lvl7pPr marL="393038" indent="-194534">
              <a:spcAft>
                <a:spcPts val="1103"/>
              </a:spcAft>
              <a:defRPr/>
            </a:lvl7pPr>
            <a:lvl8pPr marL="393038" indent="-194534">
              <a:spcAft>
                <a:spcPts val="1103"/>
              </a:spcAft>
              <a:defRPr/>
            </a:lvl8pPr>
            <a:lvl9pPr marL="393038" indent="-194534">
              <a:spcAft>
                <a:spcPts val="110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3" y="718571"/>
            <a:ext cx="9809052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793" y="350132"/>
            <a:ext cx="9809053" cy="4082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41853" y="2818700"/>
            <a:ext cx="2272388" cy="374371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10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103"/>
              </a:spcAft>
              <a:buNone/>
              <a:defRPr>
                <a:solidFill>
                  <a:schemeClr val="bg1"/>
                </a:solidFill>
              </a:defRPr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93038" indent="-194534">
              <a:spcAft>
                <a:spcPts val="1103"/>
              </a:spcAft>
              <a:defRPr baseline="0">
                <a:solidFill>
                  <a:schemeClr val="bg1"/>
                </a:solidFill>
              </a:defRPr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93038" indent="-194534">
              <a:spcAft>
                <a:spcPts val="1103"/>
              </a:spcAft>
              <a:defRPr>
                <a:solidFill>
                  <a:schemeClr val="bg1"/>
                </a:solidFill>
              </a:defRPr>
            </a:lvl7pPr>
            <a:lvl8pPr marL="393038" indent="-194534">
              <a:spcAft>
                <a:spcPts val="1103"/>
              </a:spcAft>
              <a:defRPr>
                <a:solidFill>
                  <a:schemeClr val="bg1"/>
                </a:solidFill>
              </a:defRPr>
            </a:lvl8pPr>
            <a:lvl9pPr marL="393038" indent="-194534">
              <a:spcAft>
                <a:spcPts val="110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978563" y="2818700"/>
            <a:ext cx="2272388" cy="374371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10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103"/>
              </a:spcAft>
              <a:buNone/>
              <a:defRPr>
                <a:solidFill>
                  <a:schemeClr val="bg1"/>
                </a:solidFill>
              </a:defRPr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93038" indent="-194534">
              <a:spcAft>
                <a:spcPts val="1103"/>
              </a:spcAft>
              <a:defRPr baseline="0">
                <a:solidFill>
                  <a:schemeClr val="bg1"/>
                </a:solidFill>
              </a:defRPr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93038" indent="-194534">
              <a:spcAft>
                <a:spcPts val="1103"/>
              </a:spcAft>
              <a:defRPr>
                <a:solidFill>
                  <a:schemeClr val="bg1"/>
                </a:solidFill>
              </a:defRPr>
            </a:lvl7pPr>
            <a:lvl8pPr marL="393038" indent="-194534">
              <a:spcAft>
                <a:spcPts val="1103"/>
              </a:spcAft>
              <a:defRPr>
                <a:solidFill>
                  <a:schemeClr val="bg1"/>
                </a:solidFill>
              </a:defRPr>
            </a:lvl8pPr>
            <a:lvl9pPr marL="393038" indent="-194534">
              <a:spcAft>
                <a:spcPts val="110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954090" y="2818700"/>
            <a:ext cx="2272388" cy="374371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10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103"/>
              </a:spcAft>
              <a:buNone/>
              <a:defRPr>
                <a:solidFill>
                  <a:schemeClr val="bg1"/>
                </a:solidFill>
              </a:defRPr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93038" indent="-194534">
              <a:spcAft>
                <a:spcPts val="1103"/>
              </a:spcAft>
              <a:defRPr baseline="0">
                <a:solidFill>
                  <a:schemeClr val="bg1"/>
                </a:solidFill>
              </a:defRPr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93038" indent="-194534">
              <a:spcAft>
                <a:spcPts val="1103"/>
              </a:spcAft>
              <a:defRPr>
                <a:solidFill>
                  <a:schemeClr val="bg1"/>
                </a:solidFill>
              </a:defRPr>
            </a:lvl7pPr>
            <a:lvl8pPr marL="393038" indent="-194534">
              <a:spcAft>
                <a:spcPts val="1103"/>
              </a:spcAft>
              <a:defRPr>
                <a:solidFill>
                  <a:schemeClr val="bg1"/>
                </a:solidFill>
              </a:defRPr>
            </a:lvl8pPr>
            <a:lvl9pPr marL="393038" indent="-194534">
              <a:spcAft>
                <a:spcPts val="110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466326" y="2818700"/>
            <a:ext cx="2272388" cy="374371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10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103"/>
              </a:spcAft>
              <a:buNone/>
              <a:defRPr>
                <a:solidFill>
                  <a:schemeClr val="bg1"/>
                </a:solidFill>
              </a:defRPr>
            </a:lvl3pPr>
            <a:lvl4pPr marL="194534" indent="-194534">
              <a:spcAft>
                <a:spcPts val="110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93038" indent="-194534">
              <a:spcAft>
                <a:spcPts val="1103"/>
              </a:spcAft>
              <a:defRPr baseline="0">
                <a:solidFill>
                  <a:schemeClr val="bg1"/>
                </a:solidFill>
              </a:defRPr>
            </a:lvl5pPr>
            <a:lvl6pPr marL="393038" indent="-194534">
              <a:spcAft>
                <a:spcPts val="110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93038" indent="-194534">
              <a:spcAft>
                <a:spcPts val="1103"/>
              </a:spcAft>
              <a:defRPr>
                <a:solidFill>
                  <a:schemeClr val="bg1"/>
                </a:solidFill>
              </a:defRPr>
            </a:lvl7pPr>
            <a:lvl8pPr marL="393038" indent="-194534">
              <a:spcAft>
                <a:spcPts val="1103"/>
              </a:spcAft>
              <a:defRPr>
                <a:solidFill>
                  <a:schemeClr val="bg1"/>
                </a:solidFill>
              </a:defRPr>
            </a:lvl8pPr>
            <a:lvl9pPr marL="393038" indent="-194534">
              <a:spcAft>
                <a:spcPts val="110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3" y="758374"/>
            <a:ext cx="9809053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39794" y="7142692"/>
            <a:ext cx="4694836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62"/>
              </a:spcBef>
              <a:buSzPct val="100000"/>
              <a:buFont typeface="Arial"/>
              <a:buNone/>
            </a:pPr>
            <a:r>
              <a:rPr lang="fr-FR" sz="717" noProof="0" dirty="0">
                <a:solidFill>
                  <a:schemeClr val="bg1"/>
                </a:solidFill>
              </a:rPr>
              <a:t>© 2018 Deloitte Touche Tohmatsu India LLP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978847" y="7142692"/>
            <a:ext cx="269999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62"/>
              </a:spcBef>
              <a:buSzPct val="100000"/>
              <a:buFont typeface="Arial"/>
              <a:buNone/>
            </a:pPr>
            <a:fld id="{C58DF478-B544-4ED8-9ED4-6A2648E2D233}" type="slidenum">
              <a:rPr lang="en-US" sz="717" noProof="0" smtClean="0">
                <a:solidFill>
                  <a:schemeClr val="bg1"/>
                </a:solidFill>
              </a:rPr>
              <a:pPr marL="0" indent="0" algn="r">
                <a:spcBef>
                  <a:spcPts val="662"/>
                </a:spcBef>
                <a:buSzPct val="100000"/>
                <a:buFont typeface="Arial"/>
                <a:buNone/>
              </a:pPr>
              <a:t>‹#›</a:t>
            </a:fld>
            <a:endParaRPr lang="en-US" sz="71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9793" y="718571"/>
            <a:ext cx="9809052" cy="8350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39793" y="350131"/>
            <a:ext cx="9809052" cy="3684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39793" y="1836443"/>
            <a:ext cx="4904527" cy="52012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924647" y="1508600"/>
            <a:ext cx="4839344" cy="45655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632"/>
              </a:lnSpc>
              <a:defRPr sz="397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39794" y="6466942"/>
            <a:ext cx="4904524" cy="55761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764">
                <a:solidFill>
                  <a:schemeClr val="tx1"/>
                </a:solidFill>
              </a:defRPr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9794" y="7037652"/>
            <a:ext cx="4904525" cy="329124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103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439792" y="416850"/>
            <a:ext cx="1892808" cy="359839"/>
            <a:chOff x="439792" y="416850"/>
            <a:chExt cx="1892808" cy="359839"/>
          </a:xfrm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2231035" y="674673"/>
              <a:ext cx="101565" cy="102016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439792" y="418705"/>
              <a:ext cx="288076" cy="352418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1030718" y="416850"/>
              <a:ext cx="86792" cy="354274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152596" y="504028"/>
              <a:ext cx="251143" cy="270806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438825" y="507737"/>
              <a:ext cx="86792" cy="263386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438825" y="416850"/>
              <a:ext cx="86792" cy="5935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560703" y="424269"/>
              <a:ext cx="184664" cy="350564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761988" y="424269"/>
              <a:ext cx="184664" cy="350564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965119" y="504028"/>
              <a:ext cx="245603" cy="270806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753721" y="504028"/>
              <a:ext cx="243757" cy="270806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50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36080" y="1237717"/>
            <a:ext cx="8016479" cy="2632992"/>
          </a:xfrm>
        </p:spPr>
        <p:txBody>
          <a:bodyPr anchor="b"/>
          <a:lstStyle>
            <a:lvl1pPr algn="ctr">
              <a:defRPr sz="526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080" y="3972247"/>
            <a:ext cx="8016479" cy="1825938"/>
          </a:xfrm>
        </p:spPr>
        <p:txBody>
          <a:bodyPr/>
          <a:lstStyle>
            <a:lvl1pPr marL="0" indent="0" algn="ctr">
              <a:buNone/>
              <a:defRPr sz="2104"/>
            </a:lvl1pPr>
            <a:lvl2pPr marL="400827" indent="0" algn="ctr">
              <a:buNone/>
              <a:defRPr sz="1753"/>
            </a:lvl2pPr>
            <a:lvl3pPr marL="801654" indent="0" algn="ctr">
              <a:buNone/>
              <a:defRPr sz="1578"/>
            </a:lvl3pPr>
            <a:lvl4pPr marL="1202482" indent="0" algn="ctr">
              <a:buNone/>
              <a:defRPr sz="1403"/>
            </a:lvl4pPr>
            <a:lvl5pPr marL="1603309" indent="0" algn="ctr">
              <a:buNone/>
              <a:defRPr sz="1403"/>
            </a:lvl5pPr>
            <a:lvl6pPr marL="2004136" indent="0" algn="ctr">
              <a:buNone/>
              <a:defRPr sz="1403"/>
            </a:lvl6pPr>
            <a:lvl7pPr marL="2404963" indent="0" algn="ctr">
              <a:buNone/>
              <a:defRPr sz="1403"/>
            </a:lvl7pPr>
            <a:lvl8pPr marL="2805791" indent="0" algn="ctr">
              <a:buNone/>
              <a:defRPr sz="1403"/>
            </a:lvl8pPr>
            <a:lvl9pPr marL="3206618" indent="0" algn="ctr">
              <a:buNone/>
              <a:defRPr sz="1403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4844" y="7009642"/>
            <a:ext cx="2404944" cy="402652"/>
          </a:xfrm>
          <a:prstGeom prst="rect">
            <a:avLst/>
          </a:prstGeom>
        </p:spPr>
        <p:txBody>
          <a:bodyPr/>
          <a:lstStyle/>
          <a:p>
            <a:fld id="{998D3AFA-8D09-4157-A4C2-156562714D6A}" type="datetimeFigureOut">
              <a:rPr lang="en-IN" smtClean="0"/>
              <a:t>27-04-2018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40612" y="7009642"/>
            <a:ext cx="3607415" cy="402652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48850" y="7009642"/>
            <a:ext cx="2404944" cy="402652"/>
          </a:xfrm>
          <a:prstGeom prst="rect">
            <a:avLst/>
          </a:prstGeom>
        </p:spPr>
        <p:txBody>
          <a:bodyPr/>
          <a:lstStyle/>
          <a:p>
            <a:fld id="{87CDE1A6-ADED-47A0-8FA8-41C5FAED12F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084162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39794" y="1880974"/>
            <a:ext cx="9241218" cy="1756067"/>
          </a:xfrm>
        </p:spPr>
        <p:txBody>
          <a:bodyPr anchor="b"/>
          <a:lstStyle>
            <a:lvl1pPr>
              <a:lnSpc>
                <a:spcPct val="95000"/>
              </a:lnSpc>
              <a:defRPr sz="39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39794" y="3781425"/>
            <a:ext cx="9241218" cy="172753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900">
                <a:solidFill>
                  <a:schemeClr val="bg1"/>
                </a:solidFill>
              </a:defRPr>
            </a:lvl1pPr>
            <a:lvl2pPr marL="504200" indent="0">
              <a:buNone/>
              <a:defRPr sz="2206">
                <a:solidFill>
                  <a:schemeClr val="tx1">
                    <a:tint val="75000"/>
                  </a:schemeClr>
                </a:solidFill>
              </a:defRPr>
            </a:lvl2pPr>
            <a:lvl3pPr marL="1008400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60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10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52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4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6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439794" y="7142692"/>
            <a:ext cx="4694836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62"/>
              </a:spcBef>
              <a:buSzPct val="100000"/>
              <a:buFont typeface="Arial"/>
              <a:buNone/>
            </a:pPr>
            <a:r>
              <a:rPr lang="fr-FR" sz="717" noProof="0" dirty="0">
                <a:solidFill>
                  <a:schemeClr val="bg1"/>
                </a:solidFill>
              </a:rPr>
              <a:t>© 2018 Deloitte Touche Tohmatsu India LLP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9978847" y="7142692"/>
            <a:ext cx="269999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62"/>
              </a:spcBef>
              <a:buSzPct val="100000"/>
              <a:buFont typeface="Arial"/>
              <a:buNone/>
            </a:pPr>
            <a:fld id="{C58DF478-B544-4ED8-9ED4-6A2648E2D233}" type="slidenum">
              <a:rPr lang="en-US" sz="717" noProof="0" smtClean="0">
                <a:solidFill>
                  <a:schemeClr val="bg1"/>
                </a:solidFill>
              </a:rPr>
              <a:pPr marL="0" indent="0" algn="r">
                <a:spcBef>
                  <a:spcPts val="662"/>
                </a:spcBef>
                <a:buSzPct val="100000"/>
                <a:buFont typeface="Arial"/>
                <a:buNone/>
              </a:pPr>
              <a:t>‹#›</a:t>
            </a:fld>
            <a:endParaRPr lang="en-US" sz="71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38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39794" y="1880974"/>
            <a:ext cx="9241218" cy="1756067"/>
          </a:xfrm>
        </p:spPr>
        <p:txBody>
          <a:bodyPr anchor="b"/>
          <a:lstStyle>
            <a:lvl1pPr>
              <a:lnSpc>
                <a:spcPct val="95000"/>
              </a:lnSpc>
              <a:defRPr sz="39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39793" y="3781425"/>
            <a:ext cx="9243907" cy="172753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900">
                <a:solidFill>
                  <a:schemeClr val="bg1"/>
                </a:solidFill>
              </a:defRPr>
            </a:lvl1pPr>
            <a:lvl2pPr marL="504200" indent="0">
              <a:buNone/>
              <a:defRPr sz="2206">
                <a:solidFill>
                  <a:schemeClr val="tx1">
                    <a:tint val="75000"/>
                  </a:schemeClr>
                </a:solidFill>
              </a:defRPr>
            </a:lvl2pPr>
            <a:lvl3pPr marL="1008400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60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10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52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4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6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39794" y="7142692"/>
            <a:ext cx="4694836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62"/>
              </a:spcBef>
              <a:buSzPct val="100000"/>
              <a:buFont typeface="Arial"/>
              <a:buNone/>
            </a:pPr>
            <a:r>
              <a:rPr lang="fr-FR" sz="717" noProof="0" dirty="0">
                <a:solidFill>
                  <a:schemeClr val="bg1"/>
                </a:solidFill>
              </a:rPr>
              <a:t>© 2018 Deloitte Touche Tohmatsu India LLP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9978847" y="7142692"/>
            <a:ext cx="269999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62"/>
              </a:spcBef>
              <a:buSzPct val="100000"/>
              <a:buFont typeface="Arial"/>
              <a:buNone/>
            </a:pPr>
            <a:fld id="{C58DF478-B544-4ED8-9ED4-6A2648E2D233}" type="slidenum">
              <a:rPr lang="en-US" sz="717" noProof="0" smtClean="0">
                <a:solidFill>
                  <a:schemeClr val="bg1"/>
                </a:solidFill>
              </a:rPr>
              <a:pPr marL="0" indent="0" algn="r">
                <a:spcBef>
                  <a:spcPts val="662"/>
                </a:spcBef>
                <a:buSzPct val="100000"/>
                <a:buFont typeface="Arial"/>
                <a:buNone/>
              </a:pPr>
              <a:t>‹#›</a:t>
            </a:fld>
            <a:endParaRPr lang="en-US" sz="71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38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39794" y="1880974"/>
            <a:ext cx="9241218" cy="1756067"/>
          </a:xfrm>
        </p:spPr>
        <p:txBody>
          <a:bodyPr anchor="b"/>
          <a:lstStyle>
            <a:lvl1pPr>
              <a:lnSpc>
                <a:spcPct val="95000"/>
              </a:lnSpc>
              <a:defRPr sz="39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39794" y="3781425"/>
            <a:ext cx="9241218" cy="172753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900">
                <a:solidFill>
                  <a:schemeClr val="bg1"/>
                </a:solidFill>
              </a:defRPr>
            </a:lvl1pPr>
            <a:lvl2pPr marL="504200" indent="0">
              <a:buNone/>
              <a:defRPr sz="2206">
                <a:solidFill>
                  <a:schemeClr val="tx1">
                    <a:tint val="75000"/>
                  </a:schemeClr>
                </a:solidFill>
              </a:defRPr>
            </a:lvl2pPr>
            <a:lvl3pPr marL="1008400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60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10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52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4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6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39794" y="7142692"/>
            <a:ext cx="4694836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62"/>
              </a:spcBef>
              <a:buSzPct val="100000"/>
              <a:buFont typeface="Arial"/>
              <a:buNone/>
            </a:pPr>
            <a:r>
              <a:rPr lang="fr-FR" sz="717" noProof="0" dirty="0">
                <a:solidFill>
                  <a:schemeClr val="bg1"/>
                </a:solidFill>
              </a:rPr>
              <a:t>© 2018 Deloitte Touche Tohmatsu India LLP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978847" y="7142692"/>
            <a:ext cx="269999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62"/>
              </a:spcBef>
              <a:buSzPct val="100000"/>
              <a:buFont typeface="Arial"/>
              <a:buNone/>
            </a:pPr>
            <a:fld id="{C58DF478-B544-4ED8-9ED4-6A2648E2D233}" type="slidenum">
              <a:rPr lang="en-US" sz="717" noProof="0" smtClean="0">
                <a:solidFill>
                  <a:schemeClr val="bg1"/>
                </a:solidFill>
              </a:rPr>
              <a:pPr marL="0" indent="0" algn="r">
                <a:spcBef>
                  <a:spcPts val="662"/>
                </a:spcBef>
                <a:buSzPct val="100000"/>
                <a:buFont typeface="Arial"/>
                <a:buNone/>
              </a:pPr>
              <a:t>‹#›</a:t>
            </a:fld>
            <a:endParaRPr lang="en-US" sz="71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382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39794" y="1880974"/>
            <a:ext cx="9241218" cy="1756067"/>
          </a:xfrm>
        </p:spPr>
        <p:txBody>
          <a:bodyPr anchor="b"/>
          <a:lstStyle>
            <a:lvl1pPr>
              <a:lnSpc>
                <a:spcPct val="95000"/>
              </a:lnSpc>
              <a:defRPr sz="39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39794" y="3781425"/>
            <a:ext cx="9241218" cy="172753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900">
                <a:solidFill>
                  <a:schemeClr val="bg1"/>
                </a:solidFill>
              </a:defRPr>
            </a:lvl1pPr>
            <a:lvl2pPr marL="504200" indent="0">
              <a:buNone/>
              <a:defRPr sz="2206">
                <a:solidFill>
                  <a:schemeClr val="tx1">
                    <a:tint val="75000"/>
                  </a:schemeClr>
                </a:solidFill>
              </a:defRPr>
            </a:lvl2pPr>
            <a:lvl3pPr marL="1008400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60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10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52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4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6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39794" y="7142692"/>
            <a:ext cx="4694836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62"/>
              </a:spcBef>
              <a:buSzPct val="100000"/>
              <a:buFont typeface="Arial"/>
              <a:buNone/>
            </a:pPr>
            <a:r>
              <a:rPr lang="fr-FR" sz="717" noProof="0" dirty="0">
                <a:solidFill>
                  <a:schemeClr val="bg1"/>
                </a:solidFill>
              </a:rPr>
              <a:t>© 2018 Deloitte Touche Tohmatsu India LLP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978847" y="7142692"/>
            <a:ext cx="269999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62"/>
              </a:spcBef>
              <a:buSzPct val="100000"/>
              <a:buFont typeface="Arial"/>
              <a:buNone/>
            </a:pPr>
            <a:fld id="{C58DF478-B544-4ED8-9ED4-6A2648E2D233}" type="slidenum">
              <a:rPr lang="en-US" sz="717" noProof="0" smtClean="0">
                <a:solidFill>
                  <a:schemeClr val="bg1"/>
                </a:solidFill>
              </a:rPr>
              <a:pPr marL="0" indent="0" algn="r">
                <a:spcBef>
                  <a:spcPts val="662"/>
                </a:spcBef>
                <a:buSzPct val="100000"/>
                <a:buFont typeface="Arial"/>
                <a:buNone/>
              </a:pPr>
              <a:t>‹#›</a:t>
            </a:fld>
            <a:endParaRPr lang="en-US" sz="71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38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39794" y="1880974"/>
            <a:ext cx="9241218" cy="1756067"/>
          </a:xfrm>
        </p:spPr>
        <p:txBody>
          <a:bodyPr anchor="b"/>
          <a:lstStyle>
            <a:lvl1pPr>
              <a:lnSpc>
                <a:spcPct val="95000"/>
              </a:lnSpc>
              <a:defRPr sz="39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39794" y="3781425"/>
            <a:ext cx="9241218" cy="1727537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900">
                <a:solidFill>
                  <a:schemeClr val="bg1"/>
                </a:solidFill>
              </a:defRPr>
            </a:lvl1pPr>
            <a:lvl2pPr marL="504200" indent="0">
              <a:buNone/>
              <a:defRPr sz="2206">
                <a:solidFill>
                  <a:schemeClr val="tx1">
                    <a:tint val="75000"/>
                  </a:schemeClr>
                </a:solidFill>
              </a:defRPr>
            </a:lvl2pPr>
            <a:lvl3pPr marL="1008400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60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10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52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4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6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39794" y="7142692"/>
            <a:ext cx="4694836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62"/>
              </a:spcBef>
              <a:buSzPct val="100000"/>
              <a:buFont typeface="Arial"/>
              <a:buNone/>
            </a:pPr>
            <a:r>
              <a:rPr lang="fr-FR" sz="717" noProof="0" dirty="0">
                <a:solidFill>
                  <a:schemeClr val="bg1"/>
                </a:solidFill>
              </a:rPr>
              <a:t>© 2018 Deloitte Touche Tohmatsu India LLP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9978847" y="7142692"/>
            <a:ext cx="269999" cy="110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62"/>
              </a:spcBef>
              <a:buSzPct val="100000"/>
              <a:buFont typeface="Arial"/>
              <a:buNone/>
            </a:pPr>
            <a:fld id="{C58DF478-B544-4ED8-9ED4-6A2648E2D233}" type="slidenum">
              <a:rPr lang="en-US" sz="717" noProof="0" smtClean="0">
                <a:solidFill>
                  <a:schemeClr val="bg1"/>
                </a:solidFill>
              </a:rPr>
              <a:pPr marL="0" indent="0" algn="r">
                <a:spcBef>
                  <a:spcPts val="662"/>
                </a:spcBef>
                <a:buSzPct val="100000"/>
                <a:buFont typeface="Arial"/>
                <a:buNone/>
              </a:pPr>
              <a:t>‹#›</a:t>
            </a:fld>
            <a:endParaRPr lang="en-US" sz="71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382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857" y="1752"/>
          <a:ext cx="185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857" y="1752"/>
                        <a:ext cx="1855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39794" y="350133"/>
            <a:ext cx="9809052" cy="7632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439792" y="7142692"/>
            <a:ext cx="4694837" cy="2219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62"/>
              </a:spcBef>
              <a:buSzPct val="100000"/>
              <a:buFont typeface="Arial"/>
              <a:buNone/>
            </a:pPr>
            <a:r>
              <a:rPr lang="fr-FR" sz="700" noProof="0" dirty="0">
                <a:solidFill>
                  <a:schemeClr val="tx1"/>
                </a:solidFill>
              </a:rPr>
              <a:t>© 2018 Deloitte Touche Tohmatsu India LLP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39793" y="1836444"/>
            <a:ext cx="9809052" cy="52012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9978847" y="7142692"/>
            <a:ext cx="269999" cy="1103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62"/>
              </a:spcBef>
              <a:buSzPct val="100000"/>
              <a:buFont typeface="Arial"/>
              <a:buNone/>
            </a:pPr>
            <a:fld id="{C58DF478-B544-4ED8-9ED4-6A2648E2D233}" type="slidenum">
              <a:rPr lang="en-US" sz="700" noProof="0" smtClean="0">
                <a:solidFill>
                  <a:schemeClr val="tx1"/>
                </a:solidFill>
              </a:rPr>
              <a:pPr marL="0" indent="0" algn="r">
                <a:spcBef>
                  <a:spcPts val="662"/>
                </a:spcBef>
                <a:buSzPct val="100000"/>
                <a:buFont typeface="Arial"/>
                <a:buNone/>
              </a:pPr>
              <a:t>‹#›</a:t>
            </a:fld>
            <a:endParaRPr lang="en-US" sz="70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6" r:id="rId3"/>
    <p:sldLayoutId id="2147483755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  <p:sldLayoutId id="2147483757" r:id="rId41"/>
  </p:sldLayoutIdLst>
  <p:transition>
    <p:fade/>
  </p:transition>
  <p:hf hdr="0" dt="0"/>
  <p:txStyles>
    <p:titleStyle>
      <a:lvl1pPr algn="l" defTabSz="1008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08400" rtl="0" eaLnBrk="1" latinLnBrk="0" hangingPunct="1">
        <a:spcBef>
          <a:spcPts val="0"/>
        </a:spcBef>
        <a:spcAft>
          <a:spcPts val="1103"/>
        </a:spcAft>
        <a:buSzPct val="100000"/>
        <a:buFont typeface="Arial" panose="020B0604020202020204" pitchFamily="34" charset="0"/>
        <a:buNone/>
        <a:defRPr sz="1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008400" rtl="0" eaLnBrk="1" latinLnBrk="0" hangingPunct="1">
        <a:spcBef>
          <a:spcPts val="0"/>
        </a:spcBef>
        <a:spcAft>
          <a:spcPts val="1103"/>
        </a:spcAft>
        <a:buClrTx/>
        <a:buSzPct val="100000"/>
        <a:buFont typeface="Arial"/>
        <a:buNone/>
        <a:defRPr lang="en-US" sz="10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94534" indent="-194534" algn="l" defTabSz="1008400" rtl="0" eaLnBrk="1" latinLnBrk="0" hangingPunct="1">
        <a:spcBef>
          <a:spcPts val="0"/>
        </a:spcBef>
        <a:spcAft>
          <a:spcPts val="1103"/>
        </a:spcAft>
        <a:buClrTx/>
        <a:buSzPct val="100000"/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93038" indent="-194534" algn="l" defTabSz="1008400" rtl="0" eaLnBrk="1" latinLnBrk="0" hangingPunct="1">
        <a:spcBef>
          <a:spcPts val="0"/>
        </a:spcBef>
        <a:spcAft>
          <a:spcPts val="1103"/>
        </a:spcAft>
        <a:buClrTx/>
        <a:buSzPct val="100000"/>
        <a:buFont typeface="Verdana" panose="020B0604030504040204" pitchFamily="34" charset="0"/>
        <a:buChar char="−"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7572" indent="-194534" algn="l" defTabSz="880600" rtl="0" eaLnBrk="1" latinLnBrk="0" hangingPunct="1">
        <a:spcBef>
          <a:spcPts val="0"/>
        </a:spcBef>
        <a:spcAft>
          <a:spcPts val="1103"/>
        </a:spcAft>
        <a:buClrTx/>
        <a:buSzPct val="100000"/>
        <a:buFont typeface="Verdana" panose="020B0604030504040204" pitchFamily="34" charset="0"/>
        <a:buChar char="−"/>
        <a:tabLst/>
        <a:defRPr lang="en-US" sz="10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87572" indent="-194534" algn="l" defTabSz="1008400" rtl="0" eaLnBrk="1" latinLnBrk="0" hangingPunct="1">
        <a:spcBef>
          <a:spcPts val="0"/>
        </a:spcBef>
        <a:spcAft>
          <a:spcPts val="1103"/>
        </a:spcAft>
        <a:buFont typeface="Verdana" panose="020B0604030504040204" pitchFamily="34" charset="0"/>
        <a:buChar char="−"/>
        <a:defRPr sz="1323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87572" indent="-194534" algn="l" defTabSz="1008400" rtl="0" eaLnBrk="1" latinLnBrk="0" hangingPunct="1">
        <a:spcBef>
          <a:spcPts val="0"/>
        </a:spcBef>
        <a:spcAft>
          <a:spcPts val="1103"/>
        </a:spcAft>
        <a:buFont typeface="Verdana" panose="020B0604030504040204" pitchFamily="34" charset="0"/>
        <a:buChar char="−"/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587572" indent="-194534" algn="l" defTabSz="1008400" rtl="0" eaLnBrk="1" latinLnBrk="0" hangingPunct="1">
        <a:spcBef>
          <a:spcPts val="0"/>
        </a:spcBef>
        <a:spcAft>
          <a:spcPts val="1103"/>
        </a:spcAft>
        <a:buFont typeface="Verdana" panose="020B0604030504040204" pitchFamily="34" charset="0"/>
        <a:buChar char="−"/>
        <a:defRPr sz="1323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87572" indent="-194534" algn="l" defTabSz="1008400" rtl="0" eaLnBrk="1" latinLnBrk="0" hangingPunct="1">
        <a:spcBef>
          <a:spcPts val="0"/>
        </a:spcBef>
        <a:spcAft>
          <a:spcPts val="1103"/>
        </a:spcAft>
        <a:buFont typeface="Verdana" panose="020B0604030504040204" pitchFamily="34" charset="0"/>
        <a:buChar char="−"/>
        <a:defRPr sz="1323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2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4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6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8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10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52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4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6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4443" userDrawn="1">
          <p15:clr>
            <a:srgbClr val="F26B43"/>
          </p15:clr>
        </p15:guide>
        <p15:guide id="4" pos="277" userDrawn="1">
          <p15:clr>
            <a:srgbClr val="F26B43"/>
          </p15:clr>
        </p15:guide>
        <p15:guide id="5" pos="6464" userDrawn="1">
          <p15:clr>
            <a:srgbClr val="F26B43"/>
          </p15:clr>
        </p15:guide>
        <p15:guide id="11" orient="horz" pos="219" userDrawn="1">
          <p15:clr>
            <a:srgbClr val="F26B43"/>
          </p15:clr>
        </p15:guide>
        <p15:guide id="21" orient="horz" pos="11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 txBox="1">
            <a:spLocks/>
          </p:cNvSpPr>
          <p:nvPr/>
        </p:nvSpPr>
        <p:spPr>
          <a:xfrm>
            <a:off x="366922" y="2757352"/>
            <a:ext cx="8599524" cy="491616"/>
          </a:xfrm>
          <a:prstGeom prst="rect">
            <a:avLst/>
          </a:prstGeom>
        </p:spPr>
        <p:txBody>
          <a:bodyPr vert="horz" lIns="80165" tIns="40082" rIns="80165" bIns="40082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IN" sz="2630" b="1" dirty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enary 1</a:t>
            </a:r>
            <a:br>
              <a:rPr lang="en-IN" sz="2630" b="1" dirty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br>
              <a:rPr lang="en-IN" sz="2630" b="1" dirty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IN" sz="2630" dirty="0">
              <a:solidFill>
                <a:srgbClr val="DA291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66922" y="3498110"/>
            <a:ext cx="9087806" cy="9017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IN" sz="2630" b="1" dirty="0">
                <a:solidFill>
                  <a:srgbClr val="DA29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PS Action – 1, Report on Digital Economy - PE issues and impact on developing countries</a:t>
            </a:r>
            <a:endParaRPr lang="en-IN" sz="2630" dirty="0"/>
          </a:p>
        </p:txBody>
      </p:sp>
      <p:sp>
        <p:nvSpPr>
          <p:cNvPr id="4" name="Title 3"/>
          <p:cNvSpPr txBox="1">
            <a:spLocks/>
          </p:cNvSpPr>
          <p:nvPr/>
        </p:nvSpPr>
        <p:spPr bwMode="gray">
          <a:xfrm>
            <a:off x="418529" y="6062134"/>
            <a:ext cx="2441629" cy="9021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08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b="1" dirty="0"/>
              <a:t>April 27, 2018</a:t>
            </a:r>
          </a:p>
          <a:p>
            <a:r>
              <a:rPr lang="en-US" b="1" dirty="0"/>
              <a:t>IFA, New Delhi</a:t>
            </a:r>
            <a:endParaRPr lang="en-IN" b="1" dirty="0"/>
          </a:p>
        </p:txBody>
      </p:sp>
    </p:spTree>
    <p:extLst>
      <p:ext uri="{BB962C8B-B14F-4D97-AF65-F5344CB8AC3E}">
        <p14:creationId xmlns:p14="http://schemas.microsoft.com/office/powerpoint/2010/main" val="33828074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9794" y="279795"/>
            <a:ext cx="9809052" cy="560762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Taxing the digital economy – India’s take (1/4)</a:t>
            </a:r>
            <a:endParaRPr lang="en-IN" sz="2800" dirty="0">
              <a:solidFill>
                <a:srgbClr val="C0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55181" y="1105786"/>
            <a:ext cx="9803219" cy="55399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200" b="1" dirty="0">
                <a:solidFill>
                  <a:srgbClr val="FFC000"/>
                </a:solidFill>
              </a:rPr>
              <a:t>Equalisation Levy </a:t>
            </a:r>
          </a:p>
          <a:p>
            <a:pPr marL="864337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200" dirty="0"/>
              <a:t>Effective from June 1, 2016</a:t>
            </a:r>
          </a:p>
          <a:p>
            <a:pPr marL="864337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200" dirty="0"/>
              <a:t>Applies on payment to non-residents not having a PE in India </a:t>
            </a:r>
          </a:p>
          <a:p>
            <a:pPr marL="864337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200" dirty="0"/>
              <a:t>Presently applies on payment for online advertisements / provision of digital space </a:t>
            </a:r>
          </a:p>
          <a:p>
            <a:pPr marL="864337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200" dirty="0"/>
              <a:t>6% of gross payment </a:t>
            </a:r>
          </a:p>
          <a:p>
            <a:pPr marL="864337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200" dirty="0"/>
              <a:t>Payment subject to EL- exempt from income tax [section 10(50) of Income-tax Act, 1961]</a:t>
            </a:r>
          </a:p>
          <a:p>
            <a:pPr marL="864337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200" dirty="0"/>
              <a:t>Revenue collected by India from June 2016 to March 2017 -  INR 3.4 billion </a:t>
            </a:r>
            <a:r>
              <a:rPr lang="en-US" altLang="en-US" sz="1600" i="1" dirty="0"/>
              <a:t>(source: OECD Interim report on Tax Challenges Arising from Digital Economy)</a:t>
            </a:r>
          </a:p>
        </p:txBody>
      </p:sp>
    </p:spTree>
    <p:extLst>
      <p:ext uri="{BB962C8B-B14F-4D97-AF65-F5344CB8AC3E}">
        <p14:creationId xmlns:p14="http://schemas.microsoft.com/office/powerpoint/2010/main" val="69953071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9794" y="279795"/>
            <a:ext cx="9809052" cy="560762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Taxing the digital economy – India’s take (2/4)</a:t>
            </a:r>
            <a:endParaRPr lang="en-IN" sz="2800" dirty="0">
              <a:solidFill>
                <a:srgbClr val="C0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55181" y="1105786"/>
            <a:ext cx="9803219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200" b="1" dirty="0">
                <a:solidFill>
                  <a:srgbClr val="FFC000"/>
                </a:solidFill>
              </a:rPr>
              <a:t>Online Information Database Access and Retrieval Services (‘OIDAR’)</a:t>
            </a:r>
          </a:p>
          <a:p>
            <a:pPr marL="864337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200" dirty="0"/>
              <a:t>GST at 18%</a:t>
            </a:r>
          </a:p>
          <a:p>
            <a:pPr marL="864337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200" dirty="0"/>
              <a:t>Applies on services provided through the medium of internet and received by recipient online without having physical interface</a:t>
            </a:r>
          </a:p>
          <a:p>
            <a:pPr marL="864337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200" dirty="0"/>
              <a:t>Advertising on internet, providing cloud services, providing e-books, digital data storage, online gaming </a:t>
            </a:r>
          </a:p>
        </p:txBody>
      </p:sp>
    </p:spTree>
    <p:extLst>
      <p:ext uri="{BB962C8B-B14F-4D97-AF65-F5344CB8AC3E}">
        <p14:creationId xmlns:p14="http://schemas.microsoft.com/office/powerpoint/2010/main" val="157849335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9794" y="279795"/>
            <a:ext cx="9809052" cy="560762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Taxing the digital economy – India’s take (3/4)</a:t>
            </a:r>
            <a:endParaRPr lang="en-IN" sz="2800" dirty="0">
              <a:solidFill>
                <a:srgbClr val="C0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55181" y="1105786"/>
            <a:ext cx="9803219" cy="32517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b="1" dirty="0">
                <a:solidFill>
                  <a:srgbClr val="FFC000"/>
                </a:solidFill>
              </a:rPr>
              <a:t>India’s Observations on 2017 draft OECD MC and Commentary </a:t>
            </a:r>
          </a:p>
          <a:p>
            <a:pPr marL="864336" lvl="2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dirty="0"/>
              <a:t>Right to include Significant Economic Presence (‘SEP’)</a:t>
            </a:r>
            <a:r>
              <a:rPr lang="en-US" altLang="en-US" dirty="0"/>
              <a:t>  </a:t>
            </a:r>
          </a:p>
          <a:p>
            <a:pPr marL="864336" lvl="2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en-US" dirty="0"/>
              <a:t>Website may create a PE</a:t>
            </a:r>
          </a:p>
          <a:p>
            <a:pPr marL="864336" lvl="2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dirty="0"/>
              <a:t>PE if opening of website on equipment results in download of automated software, such as cookies for collection of data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lvl="1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0276632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9794" y="279795"/>
            <a:ext cx="9809052" cy="560762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Taxing the digital economy – India’s take (4/4)</a:t>
            </a:r>
            <a:endParaRPr lang="en-IN" sz="2800" dirty="0">
              <a:solidFill>
                <a:srgbClr val="C0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55181" y="1105786"/>
            <a:ext cx="10433457" cy="5940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000" b="1" dirty="0">
                <a:solidFill>
                  <a:srgbClr val="FFC000"/>
                </a:solidFill>
              </a:rPr>
              <a:t>SEP introduced in domestic tax law – S. 9 Business Connection</a:t>
            </a:r>
          </a:p>
          <a:p>
            <a:pPr marL="864336" lvl="2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en-US" sz="2000" dirty="0"/>
              <a:t>SEP shall mean:</a:t>
            </a:r>
          </a:p>
          <a:p>
            <a:pPr marL="1616075" indent="-628650">
              <a:buAutoNum type="alphaLcParenBoth"/>
              <a:defRPr/>
            </a:pPr>
            <a:r>
              <a:rPr lang="en-US" sz="2000" dirty="0"/>
              <a:t>transaction in respect of any goods, services or property carried out by a non-resident in India including provision of download of data or software in India, if the aggregate of payments arising from such transactions during the previous year exceeds prescribed amount; or</a:t>
            </a:r>
          </a:p>
          <a:p>
            <a:pPr marL="1616075" indent="-628650">
              <a:buAutoNum type="alphaLcParenBoth"/>
              <a:defRPr/>
            </a:pPr>
            <a:endParaRPr lang="en-US" sz="2000" dirty="0"/>
          </a:p>
          <a:p>
            <a:pPr marL="1616075" indent="-628650">
              <a:buAutoNum type="alphaLcParenBoth"/>
              <a:defRPr/>
            </a:pPr>
            <a:r>
              <a:rPr lang="en-US" sz="2000" dirty="0"/>
              <a:t>systematic and continuous soliciting of business activities or engaging in interaction with prescribed number of users, in India through digital means. </a:t>
            </a:r>
          </a:p>
          <a:p>
            <a:pPr>
              <a:tabLst>
                <a:tab pos="361950" algn="l"/>
                <a:tab pos="1797050" algn="l"/>
              </a:tabLst>
              <a:defRPr/>
            </a:pPr>
            <a:endParaRPr lang="en-US" sz="2000" dirty="0"/>
          </a:p>
          <a:p>
            <a:pPr marL="864336" lvl="2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en-US" sz="2000" dirty="0"/>
              <a:t>Whether or not</a:t>
            </a:r>
          </a:p>
          <a:p>
            <a:pPr marL="1385773" lvl="3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en-US" sz="2000" dirty="0"/>
              <a:t>Agreement for such transactions or activities is entered in India; or</a:t>
            </a:r>
          </a:p>
          <a:p>
            <a:pPr marL="1385773" lvl="3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en-US" sz="2000" dirty="0"/>
              <a:t>The non-resident has a residence or place of business in India; or</a:t>
            </a:r>
          </a:p>
          <a:p>
            <a:pPr marL="1385773" lvl="3" indent="-3429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US" altLang="en-US" sz="2000" dirty="0"/>
              <a:t>The non-resident renders services in India.</a:t>
            </a:r>
          </a:p>
        </p:txBody>
      </p:sp>
    </p:spTree>
    <p:extLst>
      <p:ext uri="{BB962C8B-B14F-4D97-AF65-F5344CB8AC3E}">
        <p14:creationId xmlns:p14="http://schemas.microsoft.com/office/powerpoint/2010/main" val="3766839214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18529" y="2193656"/>
            <a:ext cx="9809052" cy="560762"/>
          </a:xfrm>
        </p:spPr>
        <p:txBody>
          <a:bodyPr/>
          <a:lstStyle/>
          <a:p>
            <a:r>
              <a:rPr lang="en-IN" sz="3600" b="1" dirty="0">
                <a:solidFill>
                  <a:srgbClr val="DA291C"/>
                </a:solidFill>
              </a:rPr>
              <a:t>Equalisation Levy</a:t>
            </a:r>
            <a:br>
              <a:rPr lang="en-IN" sz="3600" b="1" dirty="0">
                <a:solidFill>
                  <a:srgbClr val="DA291C"/>
                </a:solidFill>
              </a:rPr>
            </a:br>
            <a:r>
              <a:rPr lang="en-IN" sz="3600" b="1" dirty="0">
                <a:solidFill>
                  <a:srgbClr val="DA291C"/>
                </a:solidFill>
              </a:rPr>
              <a:t> - Issues under consideration</a:t>
            </a:r>
            <a:endParaRPr lang="en-IN" sz="3600" dirty="0">
              <a:solidFill>
                <a:srgbClr val="DA29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0926024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9794" y="279795"/>
            <a:ext cx="9809052" cy="560762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EL: Issues under consideration (1/2) </a:t>
            </a:r>
            <a:endParaRPr lang="en-IN" sz="2800" dirty="0">
              <a:solidFill>
                <a:srgbClr val="C0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97713" y="1520455"/>
            <a:ext cx="9803219" cy="27503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Has EL achieved its objectives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Is EL an interim measure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How does EL interact with SEP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17187158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9794" y="279795"/>
            <a:ext cx="9809052" cy="560762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EL: Issues under consideration (2/2) </a:t>
            </a:r>
            <a:endParaRPr lang="en-IN" sz="2800" dirty="0">
              <a:solidFill>
                <a:srgbClr val="C0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76445" y="1190847"/>
            <a:ext cx="10239155" cy="32368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Compliance with international obligations under tax treaties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Any scope to include in bilateral treaties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Scope likely to be expanded to include other services?  </a:t>
            </a:r>
          </a:p>
        </p:txBody>
      </p:sp>
    </p:spTree>
    <p:extLst>
      <p:ext uri="{BB962C8B-B14F-4D97-AF65-F5344CB8AC3E}">
        <p14:creationId xmlns:p14="http://schemas.microsoft.com/office/powerpoint/2010/main" val="1373096475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18529" y="2193656"/>
            <a:ext cx="9809052" cy="560762"/>
          </a:xfrm>
        </p:spPr>
        <p:txBody>
          <a:bodyPr/>
          <a:lstStyle/>
          <a:p>
            <a:r>
              <a:rPr lang="en-US" sz="3600" b="1" dirty="0">
                <a:solidFill>
                  <a:srgbClr val="DA291C"/>
                </a:solidFill>
              </a:rPr>
              <a:t>Significant Economic Presence</a:t>
            </a:r>
            <a:br>
              <a:rPr lang="en-US" sz="3600" b="1" dirty="0">
                <a:solidFill>
                  <a:srgbClr val="DA291C"/>
                </a:solidFill>
              </a:rPr>
            </a:br>
            <a:r>
              <a:rPr lang="en-US" sz="3600" b="1" dirty="0">
                <a:solidFill>
                  <a:srgbClr val="DA291C"/>
                </a:solidFill>
              </a:rPr>
              <a:t> - Issues under consideration </a:t>
            </a:r>
            <a:endParaRPr lang="en-IN" sz="3600" dirty="0">
              <a:solidFill>
                <a:srgbClr val="DA29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36227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17968" y="2381109"/>
            <a:ext cx="1024884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Interpretation of “carried out in India”? Litigation?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Doing business </a:t>
            </a:r>
            <a:r>
              <a:rPr lang="en-US" sz="2800" i="1" u="sng" dirty="0"/>
              <a:t>in</a:t>
            </a:r>
            <a:r>
              <a:rPr lang="en-US" sz="2800" dirty="0"/>
              <a:t> India vs Doing business </a:t>
            </a:r>
            <a:r>
              <a:rPr lang="en-US" sz="2800" i="1" u="sng" dirty="0"/>
              <a:t>with </a:t>
            </a:r>
            <a:r>
              <a:rPr lang="en-US" sz="2800" dirty="0"/>
              <a:t>India?</a:t>
            </a:r>
            <a:endParaRPr lang="en-US" sz="2800" u="sng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Application to transactions in physical goods?</a:t>
            </a:r>
          </a:p>
          <a:p>
            <a:pPr marL="864337" lvl="1" indent="-342900">
              <a:buFont typeface="Arial" panose="020B0604020202020204" pitchFamily="34" charset="0"/>
              <a:buChar char="•"/>
            </a:pPr>
            <a:r>
              <a:rPr lang="en-US" sz="2800" dirty="0"/>
              <a:t>Sold through digital means</a:t>
            </a:r>
          </a:p>
          <a:p>
            <a:pPr marL="864337" lvl="1" indent="-342900">
              <a:buFont typeface="Arial" panose="020B0604020202020204" pitchFamily="34" charset="0"/>
              <a:buChar char="•"/>
            </a:pPr>
            <a:r>
              <a:rPr lang="en-US" sz="2800" dirty="0"/>
              <a:t>Sold through non-digital mean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Uncertainty and litigation for physical goods?</a:t>
            </a:r>
          </a:p>
        </p:txBody>
      </p:sp>
      <p:sp>
        <p:nvSpPr>
          <p:cNvPr id="3" name="Rectangle 2"/>
          <p:cNvSpPr/>
          <p:nvPr/>
        </p:nvSpPr>
        <p:spPr bwMode="gray">
          <a:xfrm>
            <a:off x="217968" y="1010092"/>
            <a:ext cx="10138144" cy="113768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r>
              <a:rPr lang="en-US" sz="3000" i="1" dirty="0">
                <a:solidFill>
                  <a:srgbClr val="ED8B00"/>
                </a:solidFill>
              </a:rPr>
              <a:t>“transaction in respect of any goods, services or property </a:t>
            </a:r>
            <a:r>
              <a:rPr lang="en-US" sz="3000" b="1" i="1" dirty="0">
                <a:solidFill>
                  <a:srgbClr val="ED8B00"/>
                </a:solidFill>
              </a:rPr>
              <a:t>carried out </a:t>
            </a:r>
            <a:r>
              <a:rPr lang="en-US" sz="3000" i="1" dirty="0">
                <a:solidFill>
                  <a:srgbClr val="ED8B00"/>
                </a:solidFill>
              </a:rPr>
              <a:t>by a non-resident </a:t>
            </a:r>
            <a:r>
              <a:rPr lang="en-US" sz="3000" b="1" i="1" dirty="0">
                <a:solidFill>
                  <a:srgbClr val="ED8B00"/>
                </a:solidFill>
              </a:rPr>
              <a:t>in India</a:t>
            </a:r>
            <a:r>
              <a:rPr lang="en-US" sz="3000" i="1" dirty="0">
                <a:solidFill>
                  <a:srgbClr val="ED8B00"/>
                </a:solidFill>
              </a:rPr>
              <a:t>…”</a:t>
            </a:r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439794" y="215999"/>
            <a:ext cx="9809052" cy="560762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SEP: Issues under consideration (1/7)  </a:t>
            </a:r>
            <a:endParaRPr lang="en-IN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848135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55181" y="1105786"/>
            <a:ext cx="9803219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sz="2800" i="1" dirty="0">
              <a:solidFill>
                <a:srgbClr val="ED8B00"/>
              </a:solidFill>
            </a:endParaRPr>
          </a:p>
          <a:p>
            <a:pPr>
              <a:lnSpc>
                <a:spcPct val="150000"/>
              </a:lnSpc>
            </a:pPr>
            <a:endParaRPr lang="en-US" sz="2800" i="1" dirty="0">
              <a:solidFill>
                <a:srgbClr val="ED8B00"/>
              </a:solidFill>
            </a:endParaRPr>
          </a:p>
          <a:p>
            <a:pPr>
              <a:lnSpc>
                <a:spcPct val="150000"/>
              </a:lnSpc>
            </a:pPr>
            <a:endParaRPr lang="en-US" sz="28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Source taxation of non-technical services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800" dirty="0"/>
              <a:t>Interaction with payments covered under S. 9(1)(vii) of the Income-tax Act, 1961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17968" y="988828"/>
            <a:ext cx="10138144" cy="192449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r>
              <a:rPr lang="en-US" sz="3200" i="1" dirty="0">
                <a:solidFill>
                  <a:srgbClr val="ED8B00"/>
                </a:solidFill>
              </a:rPr>
              <a:t>“</a:t>
            </a:r>
            <a:r>
              <a:rPr lang="en-US" sz="3600" i="1" dirty="0">
                <a:solidFill>
                  <a:srgbClr val="ED8B00"/>
                </a:solidFill>
              </a:rPr>
              <a:t>transaction</a:t>
            </a:r>
            <a:r>
              <a:rPr lang="en-US" sz="3200" i="1" dirty="0">
                <a:solidFill>
                  <a:srgbClr val="ED8B00"/>
                </a:solidFill>
              </a:rPr>
              <a:t> in respect of any goods, </a:t>
            </a:r>
            <a:r>
              <a:rPr lang="en-US" sz="3200" b="1" i="1" dirty="0">
                <a:solidFill>
                  <a:srgbClr val="ED8B00"/>
                </a:solidFill>
              </a:rPr>
              <a:t>services </a:t>
            </a:r>
            <a:r>
              <a:rPr lang="en-US" sz="3200" i="1" dirty="0">
                <a:solidFill>
                  <a:srgbClr val="ED8B00"/>
                </a:solidFill>
              </a:rPr>
              <a:t>or property …”  “Whether or not….the non-resident </a:t>
            </a:r>
            <a:r>
              <a:rPr lang="en-US" sz="3200" b="1" i="1" dirty="0">
                <a:solidFill>
                  <a:srgbClr val="ED8B00"/>
                </a:solidFill>
              </a:rPr>
              <a:t>renders services in India</a:t>
            </a:r>
            <a:r>
              <a:rPr lang="en-US" sz="3200" i="1" dirty="0">
                <a:solidFill>
                  <a:srgbClr val="ED8B00"/>
                </a:solidFill>
              </a:rPr>
              <a:t>”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439794" y="215999"/>
            <a:ext cx="9809052" cy="560762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SEP: Issues under consideration (2/7)  </a:t>
            </a:r>
            <a:endParaRPr lang="en-IN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95145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18529" y="2193656"/>
            <a:ext cx="9809052" cy="560762"/>
          </a:xfrm>
        </p:spPr>
        <p:txBody>
          <a:bodyPr/>
          <a:lstStyle/>
          <a:p>
            <a:r>
              <a:rPr lang="en-IN" sz="3000" b="1" dirty="0">
                <a:solidFill>
                  <a:srgbClr val="DA291C"/>
                </a:solidFill>
              </a:rPr>
              <a:t>Plenary 1</a:t>
            </a:r>
            <a:br>
              <a:rPr lang="en-IN" sz="3000" b="1" dirty="0">
                <a:solidFill>
                  <a:srgbClr val="DA291C"/>
                </a:solidFill>
              </a:rPr>
            </a:br>
            <a:br>
              <a:rPr lang="en-IN" sz="3000" b="1" dirty="0">
                <a:solidFill>
                  <a:srgbClr val="DA291C"/>
                </a:solidFill>
              </a:rPr>
            </a:br>
            <a:r>
              <a:rPr lang="en-IN" sz="3000" b="1" dirty="0">
                <a:solidFill>
                  <a:srgbClr val="DA291C"/>
                </a:solidFill>
              </a:rPr>
              <a:t> </a:t>
            </a:r>
            <a:endParaRPr lang="en-IN" dirty="0">
              <a:solidFill>
                <a:srgbClr val="DA291C"/>
              </a:solidFill>
            </a:endParaRPr>
          </a:p>
        </p:txBody>
      </p:sp>
      <p:sp>
        <p:nvSpPr>
          <p:cNvPr id="5" name="Title 3"/>
          <p:cNvSpPr txBox="1">
            <a:spLocks/>
          </p:cNvSpPr>
          <p:nvPr/>
        </p:nvSpPr>
        <p:spPr bwMode="gray">
          <a:xfrm>
            <a:off x="418529" y="6062134"/>
            <a:ext cx="2441629" cy="90219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08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N" b="1" dirty="0"/>
              <a:t>April 27, 2018</a:t>
            </a:r>
          </a:p>
          <a:p>
            <a:r>
              <a:rPr lang="en-US" b="1" dirty="0"/>
              <a:t>IFA, New Delhi</a:t>
            </a:r>
            <a:endParaRPr lang="en-IN" b="1" dirty="0"/>
          </a:p>
        </p:txBody>
      </p:sp>
      <p:sp>
        <p:nvSpPr>
          <p:cNvPr id="6" name="Title 3"/>
          <p:cNvSpPr txBox="1">
            <a:spLocks/>
          </p:cNvSpPr>
          <p:nvPr/>
        </p:nvSpPr>
        <p:spPr bwMode="gray">
          <a:xfrm>
            <a:off x="255168" y="3315250"/>
            <a:ext cx="10229952" cy="242718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008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IN" sz="1800" dirty="0">
                <a:solidFill>
                  <a:srgbClr val="ED8B00"/>
                </a:solidFill>
              </a:rPr>
              <a:t>Mr Dinesh </a:t>
            </a:r>
            <a:r>
              <a:rPr lang="en-IN" sz="1800" dirty="0" err="1">
                <a:solidFill>
                  <a:srgbClr val="ED8B00"/>
                </a:solidFill>
              </a:rPr>
              <a:t>Kanabar</a:t>
            </a:r>
            <a:r>
              <a:rPr lang="en-IN" sz="1800" dirty="0"/>
              <a:t>, Dhruva Advisors LLP (Chairman)</a:t>
            </a: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dirty="0" err="1">
                <a:solidFill>
                  <a:srgbClr val="ED8B00"/>
                </a:solidFill>
              </a:rPr>
              <a:t>Mr</a:t>
            </a:r>
            <a:r>
              <a:rPr lang="en-US" sz="1800" dirty="0">
                <a:solidFill>
                  <a:srgbClr val="ED8B00"/>
                </a:solidFill>
              </a:rPr>
              <a:t> </a:t>
            </a:r>
            <a:r>
              <a:rPr lang="en-US" sz="1800" dirty="0" err="1">
                <a:solidFill>
                  <a:srgbClr val="ED8B00"/>
                </a:solidFill>
              </a:rPr>
              <a:t>Akhilesh</a:t>
            </a:r>
            <a:r>
              <a:rPr lang="en-US" sz="1800" dirty="0">
                <a:solidFill>
                  <a:srgbClr val="ED8B00"/>
                </a:solidFill>
              </a:rPr>
              <a:t> </a:t>
            </a:r>
            <a:r>
              <a:rPr lang="en-US" sz="1800" dirty="0" err="1">
                <a:solidFill>
                  <a:srgbClr val="ED8B00"/>
                </a:solidFill>
              </a:rPr>
              <a:t>Ranjan</a:t>
            </a:r>
            <a:r>
              <a:rPr lang="en-US" sz="1800" dirty="0"/>
              <a:t>, Joint Secretary (Foreign Tax), Government of India</a:t>
            </a: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dirty="0" err="1">
                <a:solidFill>
                  <a:srgbClr val="ED8B00"/>
                </a:solidFill>
              </a:rPr>
              <a:t>Mr</a:t>
            </a:r>
            <a:r>
              <a:rPr lang="en-US" sz="1800" dirty="0">
                <a:solidFill>
                  <a:srgbClr val="ED8B00"/>
                </a:solidFill>
              </a:rPr>
              <a:t> </a:t>
            </a:r>
            <a:r>
              <a:rPr lang="en-US" sz="1800" dirty="0" err="1">
                <a:solidFill>
                  <a:srgbClr val="ED8B00"/>
                </a:solidFill>
              </a:rPr>
              <a:t>Gyaneshwarnath</a:t>
            </a:r>
            <a:r>
              <a:rPr lang="en-US" sz="1800" dirty="0">
                <a:solidFill>
                  <a:srgbClr val="ED8B00"/>
                </a:solidFill>
              </a:rPr>
              <a:t> (Gary) </a:t>
            </a:r>
            <a:r>
              <a:rPr lang="en-US" sz="1800" dirty="0" err="1">
                <a:solidFill>
                  <a:srgbClr val="ED8B00"/>
                </a:solidFill>
              </a:rPr>
              <a:t>Gowrea</a:t>
            </a:r>
            <a:r>
              <a:rPr lang="en-US" sz="1800" dirty="0"/>
              <a:t>, Head of Structuring and Advisory, SGG Mauritius</a:t>
            </a: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dirty="0" err="1">
                <a:solidFill>
                  <a:srgbClr val="ED8B00"/>
                </a:solidFill>
              </a:rPr>
              <a:t>Mr</a:t>
            </a:r>
            <a:r>
              <a:rPr lang="en-US" sz="1800" dirty="0">
                <a:solidFill>
                  <a:srgbClr val="ED8B00"/>
                </a:solidFill>
              </a:rPr>
              <a:t> Pranav </a:t>
            </a:r>
            <a:r>
              <a:rPr lang="en-US" sz="1800" dirty="0" err="1">
                <a:solidFill>
                  <a:srgbClr val="ED8B00"/>
                </a:solidFill>
              </a:rPr>
              <a:t>Sayta</a:t>
            </a:r>
            <a:r>
              <a:rPr lang="en-US" sz="1800" dirty="0"/>
              <a:t>, Ernst &amp; Young LLP</a:t>
            </a: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dirty="0" err="1">
                <a:solidFill>
                  <a:srgbClr val="ED8B00"/>
                </a:solidFill>
              </a:rPr>
              <a:t>Ms</a:t>
            </a:r>
            <a:r>
              <a:rPr lang="en-US" sz="1800" dirty="0">
                <a:solidFill>
                  <a:srgbClr val="ED8B00"/>
                </a:solidFill>
              </a:rPr>
              <a:t> Shefali Goradia</a:t>
            </a:r>
            <a:r>
              <a:rPr lang="en-US" sz="1800" dirty="0"/>
              <a:t>, Deloitte </a:t>
            </a:r>
            <a:r>
              <a:rPr lang="en-US" sz="1800" dirty="0" err="1"/>
              <a:t>Touche</a:t>
            </a:r>
            <a:r>
              <a:rPr lang="en-US" sz="1800" dirty="0"/>
              <a:t> Tohmatsu LLP</a:t>
            </a:r>
          </a:p>
          <a:p>
            <a:pPr marL="285750" indent="-285750">
              <a:lnSpc>
                <a:spcPct val="150000"/>
              </a:lnSpc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ED8B00"/>
                </a:solidFill>
              </a:rPr>
              <a:t>Mr. Amar Mehta, </a:t>
            </a:r>
            <a:r>
              <a:rPr lang="en-US" sz="1800" dirty="0"/>
              <a:t>Indi-Genius, Canada</a:t>
            </a:r>
            <a:endParaRPr lang="en-IN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IN" sz="1800" dirty="0"/>
          </a:p>
        </p:txBody>
      </p:sp>
    </p:spTree>
    <p:extLst>
      <p:ext uri="{BB962C8B-B14F-4D97-AF65-F5344CB8AC3E}">
        <p14:creationId xmlns:p14="http://schemas.microsoft.com/office/powerpoint/2010/main" val="3734081836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17968" y="2339163"/>
            <a:ext cx="9803219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en-US" sz="30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Interaction with payments covered under S. 9(1)(vi) of the Income-tax Act, 1961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3000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17968" y="988828"/>
            <a:ext cx="10138144" cy="155235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r>
              <a:rPr lang="en-US" sz="3200" dirty="0">
                <a:solidFill>
                  <a:srgbClr val="ED8B00"/>
                </a:solidFill>
              </a:rPr>
              <a:t>“…including provision of </a:t>
            </a:r>
            <a:r>
              <a:rPr lang="en-US" sz="3200" b="1" dirty="0">
                <a:solidFill>
                  <a:srgbClr val="ED8B00"/>
                </a:solidFill>
              </a:rPr>
              <a:t>download of data or software</a:t>
            </a:r>
            <a:r>
              <a:rPr lang="en-US" sz="3200" dirty="0">
                <a:solidFill>
                  <a:srgbClr val="ED8B00"/>
                </a:solidFill>
              </a:rPr>
              <a:t> in India”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439794" y="215999"/>
            <a:ext cx="9809052" cy="560762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SEP: Issues under consideration (3/7)  </a:t>
            </a:r>
            <a:endParaRPr lang="en-IN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335525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16510" y="3592635"/>
            <a:ext cx="9803219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Active solicitation vs passive solicitation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Scope of interaction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Tracking of users?</a:t>
            </a:r>
          </a:p>
        </p:txBody>
      </p:sp>
      <p:sp>
        <p:nvSpPr>
          <p:cNvPr id="5" name="Rectangle 4"/>
          <p:cNvSpPr/>
          <p:nvPr/>
        </p:nvSpPr>
        <p:spPr bwMode="gray">
          <a:xfrm>
            <a:off x="216510" y="1105786"/>
            <a:ext cx="10138144" cy="222162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r>
              <a:rPr lang="en-US" sz="3200" i="1" dirty="0">
                <a:solidFill>
                  <a:srgbClr val="ED8B00"/>
                </a:solidFill>
              </a:rPr>
              <a:t>“systematic and continuous </a:t>
            </a:r>
            <a:r>
              <a:rPr lang="en-US" sz="3200" b="1" i="1" dirty="0">
                <a:solidFill>
                  <a:srgbClr val="ED8B00"/>
                </a:solidFill>
              </a:rPr>
              <a:t>soliciting of business </a:t>
            </a:r>
            <a:r>
              <a:rPr lang="en-US" sz="3200" i="1" dirty="0">
                <a:solidFill>
                  <a:srgbClr val="ED8B00"/>
                </a:solidFill>
              </a:rPr>
              <a:t>activities or </a:t>
            </a:r>
            <a:r>
              <a:rPr lang="en-US" sz="3200" b="1" i="1" dirty="0">
                <a:solidFill>
                  <a:srgbClr val="ED8B00"/>
                </a:solidFill>
              </a:rPr>
              <a:t>engaging in interaction </a:t>
            </a:r>
            <a:r>
              <a:rPr lang="en-US" sz="3200" i="1" dirty="0">
                <a:solidFill>
                  <a:srgbClr val="ED8B00"/>
                </a:solidFill>
              </a:rPr>
              <a:t>with prescribed number of </a:t>
            </a:r>
            <a:r>
              <a:rPr lang="en-US" sz="3200" b="1" i="1" dirty="0">
                <a:solidFill>
                  <a:srgbClr val="ED8B00"/>
                </a:solidFill>
              </a:rPr>
              <a:t>users</a:t>
            </a:r>
            <a:r>
              <a:rPr lang="en-US" sz="3200" i="1" dirty="0">
                <a:solidFill>
                  <a:srgbClr val="ED8B00"/>
                </a:solidFill>
              </a:rPr>
              <a:t>, in India through digital means”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439794" y="215999"/>
            <a:ext cx="9809052" cy="560762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SEP: Issues under consideration (4/7)  </a:t>
            </a:r>
            <a:endParaRPr lang="en-IN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79271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55181" y="1105786"/>
            <a:ext cx="9803219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Obligation of foreign companies that don’t have a PE under tax treaty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Practical difficulty in obtaining SEP related information from non-residents? </a:t>
            </a:r>
          </a:p>
          <a:p>
            <a:pPr marL="864337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42% WHT inevitable?</a:t>
            </a:r>
          </a:p>
          <a:p>
            <a:pPr marL="864337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Gross-up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3000" dirty="0"/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439794" y="215999"/>
            <a:ext cx="9809052" cy="560762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SEP: Issues under consideration (5/7)  </a:t>
            </a:r>
            <a:endParaRPr lang="en-IN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059784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55181" y="1105786"/>
            <a:ext cx="9803219" cy="355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Fate of existing litigation on website PE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How will data regarding revenue and users be collected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Attribution rules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3000" dirty="0"/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439794" y="215999"/>
            <a:ext cx="9809052" cy="560762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SEP: Issues under consideration (6/7)  </a:t>
            </a:r>
            <a:endParaRPr lang="en-IN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531809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55181" y="1105786"/>
            <a:ext cx="9803219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000" dirty="0"/>
              <a:t>Value creation on account of data, user participation, network effects and user-generated content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3200" dirty="0"/>
              <a:t>Consider waiting until international consensus is reached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3000" dirty="0"/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439794" y="215999"/>
            <a:ext cx="9809052" cy="560762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SEP: Issues under consideration (7/7)  </a:t>
            </a:r>
            <a:endParaRPr lang="en-IN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014948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18529" y="2193656"/>
            <a:ext cx="9809052" cy="560762"/>
          </a:xfrm>
        </p:spPr>
        <p:txBody>
          <a:bodyPr/>
          <a:lstStyle/>
          <a:p>
            <a:r>
              <a:rPr lang="en-US" sz="3600" b="1" dirty="0">
                <a:solidFill>
                  <a:srgbClr val="DA291C"/>
                </a:solidFill>
              </a:rPr>
              <a:t>Closing Remarks</a:t>
            </a:r>
            <a:endParaRPr lang="en-IN" sz="3600" dirty="0">
              <a:solidFill>
                <a:srgbClr val="DA29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61088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18529" y="2193656"/>
            <a:ext cx="9809052" cy="560762"/>
          </a:xfrm>
        </p:spPr>
        <p:txBody>
          <a:bodyPr/>
          <a:lstStyle/>
          <a:p>
            <a:r>
              <a:rPr lang="en-IN" sz="3600" b="1" dirty="0">
                <a:solidFill>
                  <a:srgbClr val="DA291C"/>
                </a:solidFill>
              </a:rPr>
              <a:t>OECD Interim Report and other International Developments</a:t>
            </a:r>
            <a:endParaRPr lang="en-IN" sz="3600" dirty="0">
              <a:solidFill>
                <a:srgbClr val="DA29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4803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9794" y="279795"/>
            <a:ext cx="9809052" cy="560762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International consensus – a challenge?</a:t>
            </a:r>
            <a:endParaRPr lang="en-IN" sz="2800" dirty="0">
              <a:solidFill>
                <a:srgbClr val="C0000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0306" y="4192490"/>
            <a:ext cx="10242131" cy="25428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12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Final report to be published in 2020 </a:t>
            </a:r>
          </a:p>
          <a:p>
            <a:pPr marL="342900" indent="-342900">
              <a:lnSpc>
                <a:spcPct val="112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Unilateral measures – EU, UK, </a:t>
            </a:r>
            <a:r>
              <a:rPr lang="en-US" sz="2400" dirty="0" err="1"/>
              <a:t>etc</a:t>
            </a:r>
            <a:endParaRPr lang="en-US" sz="2400" dirty="0"/>
          </a:p>
          <a:p>
            <a:pPr marL="342900" indent="-342900">
              <a:lnSpc>
                <a:spcPct val="112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Possible to implement an international solution without US participation?</a:t>
            </a:r>
            <a:r>
              <a:rPr lang="en-US" sz="3000" dirty="0"/>
              <a:t> 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3000" dirty="0"/>
          </a:p>
        </p:txBody>
      </p:sp>
      <p:sp>
        <p:nvSpPr>
          <p:cNvPr id="5" name="Rectangle 4"/>
          <p:cNvSpPr/>
          <p:nvPr/>
        </p:nvSpPr>
        <p:spPr bwMode="gray">
          <a:xfrm>
            <a:off x="217968" y="903768"/>
            <a:ext cx="10244469" cy="299306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ED8B00"/>
                </a:solidFill>
              </a:rPr>
              <a:t>OECD’s interim report</a:t>
            </a:r>
          </a:p>
          <a:p>
            <a:pPr marL="864337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ED8B00"/>
                </a:solidFill>
              </a:rPr>
              <a:t>Digital MNEs are modifying their business structures </a:t>
            </a:r>
          </a:p>
          <a:p>
            <a:pPr marL="864337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ED8B00"/>
                </a:solidFill>
              </a:rPr>
              <a:t>US tax reforms impact needs to be monitored </a:t>
            </a:r>
          </a:p>
          <a:p>
            <a:pPr marL="864337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ED8B00"/>
                </a:solidFill>
              </a:rPr>
              <a:t>Further work to be performed on nexus, profit allocation, value contribution and testing feasibility of options </a:t>
            </a:r>
          </a:p>
          <a:p>
            <a:pPr marL="864337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ED8B00"/>
                </a:solidFill>
              </a:rPr>
              <a:t>No consensus on interim and unilateral measure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31028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18529" y="2193656"/>
            <a:ext cx="9809052" cy="560762"/>
          </a:xfrm>
        </p:spPr>
        <p:txBody>
          <a:bodyPr/>
          <a:lstStyle/>
          <a:p>
            <a:r>
              <a:rPr lang="en-IN" sz="3600" b="1" dirty="0">
                <a:solidFill>
                  <a:srgbClr val="DA291C"/>
                </a:solidFill>
              </a:rPr>
              <a:t>Is it a Source v Residence debate?</a:t>
            </a:r>
            <a:endParaRPr lang="en-IN" sz="3600" dirty="0">
              <a:solidFill>
                <a:srgbClr val="DA29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46227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18529" y="2193656"/>
            <a:ext cx="9809052" cy="560762"/>
          </a:xfrm>
        </p:spPr>
        <p:txBody>
          <a:bodyPr/>
          <a:lstStyle/>
          <a:p>
            <a:r>
              <a:rPr lang="en-IN" sz="3600" b="1" dirty="0">
                <a:solidFill>
                  <a:srgbClr val="DA291C"/>
                </a:solidFill>
              </a:rPr>
              <a:t>Digitalization of Businesses</a:t>
            </a:r>
            <a:endParaRPr lang="en-IN" sz="3600" dirty="0">
              <a:solidFill>
                <a:srgbClr val="DA29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541063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9794" y="279795"/>
            <a:ext cx="9809052" cy="560762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Permanent establishment (‘PE’)</a:t>
            </a:r>
            <a:endParaRPr lang="en-IN" sz="2800" dirty="0">
              <a:solidFill>
                <a:srgbClr val="C0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85305" y="1071469"/>
            <a:ext cx="8265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>
                <a:solidFill>
                  <a:srgbClr val="262626"/>
                </a:solidFill>
                <a:latin typeface="+mj-lt"/>
              </a:rPr>
              <a:t>Both OECD &amp; UN Model – if there is PE, then tax has to be paid on the profits attributable to that entity.</a:t>
            </a:r>
          </a:p>
        </p:txBody>
      </p:sp>
      <p:sp>
        <p:nvSpPr>
          <p:cNvPr id="6" name="Rectangle 5"/>
          <p:cNvSpPr/>
          <p:nvPr/>
        </p:nvSpPr>
        <p:spPr>
          <a:xfrm>
            <a:off x="1332154" y="2248861"/>
            <a:ext cx="1512168" cy="805794"/>
          </a:xfrm>
          <a:prstGeom prst="rect">
            <a:avLst/>
          </a:prstGeom>
          <a:solidFill>
            <a:srgbClr val="75B8E5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latin typeface="+mj-lt"/>
              </a:rPr>
              <a:t>Two types of PE</a:t>
            </a:r>
            <a:endParaRPr lang="en-US" sz="1400" b="1" dirty="0"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39193" y="1453715"/>
            <a:ext cx="4972639" cy="1147163"/>
          </a:xfrm>
          <a:prstGeom prst="rect">
            <a:avLst/>
          </a:prstGeom>
          <a:solidFill>
            <a:srgbClr val="D0D7DE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en-GB" sz="1400" b="1" dirty="0">
                <a:latin typeface="+mj-lt"/>
              </a:rPr>
              <a:t>Physical PE:</a:t>
            </a:r>
            <a:r>
              <a:rPr lang="en-GB" sz="1400" dirty="0">
                <a:latin typeface="+mj-lt"/>
              </a:rPr>
              <a:t> Fixed place of business through which the business of an enterprise is wholly or partly carried out</a:t>
            </a:r>
            <a:endParaRPr lang="en-US" sz="1400" dirty="0"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639193" y="2838630"/>
            <a:ext cx="4972639" cy="1180477"/>
          </a:xfrm>
          <a:prstGeom prst="rect">
            <a:avLst/>
          </a:prstGeom>
          <a:solidFill>
            <a:srgbClr val="D0D7DE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GB" sz="1400" b="1" dirty="0">
              <a:latin typeface="+mj-lt"/>
            </a:endParaRPr>
          </a:p>
          <a:p>
            <a:pPr>
              <a:lnSpc>
                <a:spcPct val="150000"/>
              </a:lnSpc>
            </a:pPr>
            <a:r>
              <a:rPr lang="en-GB" sz="1400" b="1" dirty="0">
                <a:latin typeface="+mj-lt"/>
              </a:rPr>
              <a:t>Dependent agent PE:</a:t>
            </a:r>
            <a:r>
              <a:rPr lang="en-GB" sz="1400" dirty="0">
                <a:latin typeface="+mj-lt"/>
              </a:rPr>
              <a:t> Exists where a person acting on behalf of the enterprise and habitually exercise an authority to conclude contracts in the name of the enterprise </a:t>
            </a:r>
          </a:p>
          <a:p>
            <a:pPr>
              <a:lnSpc>
                <a:spcPct val="150000"/>
              </a:lnSpc>
            </a:pPr>
            <a:r>
              <a:rPr lang="en-GB" sz="1400" dirty="0">
                <a:latin typeface="+mj-lt"/>
              </a:rPr>
              <a:t> </a:t>
            </a:r>
            <a:endParaRPr lang="en-US" sz="1400" dirty="0">
              <a:latin typeface="+mj-lt"/>
            </a:endParaRPr>
          </a:p>
        </p:txBody>
      </p:sp>
      <p:cxnSp>
        <p:nvCxnSpPr>
          <p:cNvPr id="9" name="Straight Arrow Connector 8"/>
          <p:cNvCxnSpPr>
            <a:stCxn id="6" idx="3"/>
            <a:endCxn id="7" idx="1"/>
          </p:cNvCxnSpPr>
          <p:nvPr/>
        </p:nvCxnSpPr>
        <p:spPr>
          <a:xfrm flipV="1">
            <a:off x="2844322" y="2027297"/>
            <a:ext cx="1794871" cy="624461"/>
          </a:xfrm>
          <a:prstGeom prst="straightConnector1">
            <a:avLst/>
          </a:prstGeom>
          <a:ln w="349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>
            <a:stCxn id="6" idx="3"/>
            <a:endCxn id="8" idx="1"/>
          </p:cNvCxnSpPr>
          <p:nvPr/>
        </p:nvCxnSpPr>
        <p:spPr>
          <a:xfrm>
            <a:off x="2844322" y="2651758"/>
            <a:ext cx="1794871" cy="777111"/>
          </a:xfrm>
          <a:prstGeom prst="straightConnector1">
            <a:avLst/>
          </a:prstGeom>
          <a:ln w="349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Box 2"/>
          <p:cNvSpPr txBox="1">
            <a:spLocks noChangeArrowheads="1"/>
          </p:cNvSpPr>
          <p:nvPr/>
        </p:nvSpPr>
        <p:spPr bwMode="auto">
          <a:xfrm>
            <a:off x="584791" y="4224953"/>
            <a:ext cx="9399181" cy="2888228"/>
          </a:xfrm>
          <a:prstGeom prst="rect">
            <a:avLst/>
          </a:prstGeom>
          <a:solidFill>
            <a:srgbClr val="FFFFFF"/>
          </a:solidFill>
          <a:ln w="9525">
            <a:solidFill>
              <a:srgbClr val="237DB9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800" dirty="0">
                <a:latin typeface="+mj-lt"/>
                <a:ea typeface="Times New Roman"/>
              </a:rPr>
              <a:t>The PE definition excludes warehouse, …. And any structure solely for the purposes of carrying on any other activity of a preparatory or auxiliary character.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800" dirty="0">
                <a:latin typeface="+mj-lt"/>
                <a:ea typeface="Times New Roman"/>
              </a:rPr>
              <a:t>The traditional view is that one should be dealing in G+ S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endParaRPr lang="en-GB" sz="1800" b="1" dirty="0">
              <a:latin typeface="+mj-lt"/>
              <a:ea typeface="Times New Roman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800" b="1" dirty="0">
                <a:solidFill>
                  <a:srgbClr val="ED8B00"/>
                </a:solidFill>
              </a:rPr>
              <a:t>But what happens in a digitalised world?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endParaRPr lang="en-GB" sz="1800" b="1" dirty="0">
              <a:solidFill>
                <a:srgbClr val="ED8B00"/>
              </a:solidFill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800" b="1" dirty="0">
                <a:solidFill>
                  <a:srgbClr val="ED8B00"/>
                </a:solidFill>
              </a:rPr>
              <a:t>In the digital world one can conclude contract without physical presence nor with the need to have a DAPE</a:t>
            </a:r>
          </a:p>
        </p:txBody>
      </p:sp>
    </p:spTree>
    <p:extLst>
      <p:ext uri="{BB962C8B-B14F-4D97-AF65-F5344CB8AC3E}">
        <p14:creationId xmlns:p14="http://schemas.microsoft.com/office/powerpoint/2010/main" val="318234683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39794" y="279795"/>
            <a:ext cx="9809052" cy="560762"/>
          </a:xfrm>
        </p:spPr>
        <p:txBody>
          <a:bodyPr/>
          <a:lstStyle/>
          <a:p>
            <a:r>
              <a:rPr lang="en-US" sz="2800" dirty="0">
                <a:solidFill>
                  <a:srgbClr val="C00000"/>
                </a:solidFill>
              </a:rPr>
              <a:t>Google case</a:t>
            </a:r>
            <a:endParaRPr lang="en-IN" sz="2800" dirty="0">
              <a:solidFill>
                <a:srgbClr val="C00000"/>
              </a:solidFill>
            </a:endParaRPr>
          </a:p>
        </p:txBody>
      </p:sp>
      <p:sp>
        <p:nvSpPr>
          <p:cNvPr id="12" name="Text Box 2"/>
          <p:cNvSpPr txBox="1">
            <a:spLocks noChangeArrowheads="1"/>
          </p:cNvSpPr>
          <p:nvPr/>
        </p:nvSpPr>
        <p:spPr bwMode="auto">
          <a:xfrm rot="19201826">
            <a:off x="3315223" y="2281753"/>
            <a:ext cx="1480735" cy="26562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en-GB" sz="900" dirty="0">
                <a:latin typeface="+mj-lt"/>
                <a:ea typeface="Times New Roman"/>
              </a:rPr>
              <a:t>Service Agreement</a:t>
            </a:r>
            <a:endParaRPr lang="en-GB" sz="900" dirty="0">
              <a:effectLst/>
              <a:latin typeface="+mj-lt"/>
              <a:ea typeface="Times New Roman"/>
            </a:endParaRPr>
          </a:p>
        </p:txBody>
      </p:sp>
      <p:sp>
        <p:nvSpPr>
          <p:cNvPr id="13" name="Text Box 2"/>
          <p:cNvSpPr txBox="1">
            <a:spLocks noChangeArrowheads="1"/>
          </p:cNvSpPr>
          <p:nvPr/>
        </p:nvSpPr>
        <p:spPr bwMode="auto">
          <a:xfrm rot="19067603">
            <a:off x="3782809" y="2553475"/>
            <a:ext cx="1216820" cy="30662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en-GB" sz="900" dirty="0">
                <a:latin typeface="+mj-lt"/>
                <a:ea typeface="Times New Roman"/>
              </a:rPr>
              <a:t>Cost plus basis</a:t>
            </a:r>
            <a:endParaRPr lang="en-GB" sz="900" dirty="0">
              <a:effectLst/>
              <a:latin typeface="+mj-lt"/>
              <a:ea typeface="Times New Roman"/>
            </a:endParaRPr>
          </a:p>
        </p:txBody>
      </p:sp>
      <p:sp>
        <p:nvSpPr>
          <p:cNvPr id="14" name="Text Box 2"/>
          <p:cNvSpPr txBox="1">
            <a:spLocks noChangeArrowheads="1"/>
          </p:cNvSpPr>
          <p:nvPr/>
        </p:nvSpPr>
        <p:spPr bwMode="auto">
          <a:xfrm>
            <a:off x="6199179" y="2510117"/>
            <a:ext cx="1229083" cy="31900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900" dirty="0">
                <a:latin typeface="+mj-lt"/>
                <a:ea typeface="Times New Roman"/>
              </a:rPr>
              <a:t>Sell digital services</a:t>
            </a:r>
            <a:endParaRPr lang="en-GB" sz="900" dirty="0">
              <a:effectLst/>
              <a:latin typeface="+mj-lt"/>
              <a:ea typeface="Times New Roman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42856" y="3374884"/>
            <a:ext cx="1494141" cy="545679"/>
          </a:xfrm>
          <a:prstGeom prst="rect">
            <a:avLst/>
          </a:prstGeom>
          <a:solidFill>
            <a:srgbClr val="AAD6F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-GB" sz="1000" b="1" dirty="0">
                <a:effectLst/>
                <a:latin typeface="+mj-lt"/>
                <a:ea typeface="Calibri"/>
              </a:rPr>
              <a:t>Google </a:t>
            </a:r>
          </a:p>
          <a:p>
            <a:pPr algn="ctr">
              <a:spcAft>
                <a:spcPts val="0"/>
              </a:spcAft>
            </a:pPr>
            <a:r>
              <a:rPr lang="en-GB" sz="1000" b="1" dirty="0">
                <a:effectLst/>
                <a:latin typeface="+mj-lt"/>
                <a:ea typeface="Calibri"/>
              </a:rPr>
              <a:t>(France)</a:t>
            </a:r>
            <a:endParaRPr lang="en-GB" sz="1000" dirty="0">
              <a:effectLst/>
              <a:latin typeface="+mj-lt"/>
              <a:ea typeface="Times New Roman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804193" y="3014844"/>
            <a:ext cx="9158514" cy="0"/>
          </a:xfrm>
          <a:prstGeom prst="line">
            <a:avLst/>
          </a:prstGeom>
          <a:ln w="6350">
            <a:solidFill>
              <a:srgbClr val="237DB9"/>
            </a:solidFill>
            <a:prstDash val="dash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/>
        </p:nvSpPr>
        <p:spPr>
          <a:xfrm>
            <a:off x="4361646" y="1286652"/>
            <a:ext cx="1467377" cy="536013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en-GB" sz="1000" b="1" dirty="0">
                <a:latin typeface="+mj-lt"/>
                <a:ea typeface="Times New Roman"/>
              </a:rPr>
              <a:t>Google </a:t>
            </a: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en-GB" sz="1000" b="1" dirty="0">
                <a:latin typeface="+mj-lt"/>
                <a:ea typeface="Times New Roman"/>
              </a:rPr>
              <a:t>(Ireland)</a:t>
            </a:r>
            <a:endParaRPr lang="en-GB" sz="1000" dirty="0">
              <a:effectLst/>
              <a:latin typeface="+mj-lt"/>
              <a:ea typeface="Times New Roman"/>
            </a:endParaRPr>
          </a:p>
        </p:txBody>
      </p:sp>
      <p:cxnSp>
        <p:nvCxnSpPr>
          <p:cNvPr id="18" name="Straight Arrow Connector 17"/>
          <p:cNvCxnSpPr>
            <a:stCxn id="15" idx="0"/>
            <a:endCxn id="17" idx="2"/>
          </p:cNvCxnSpPr>
          <p:nvPr/>
        </p:nvCxnSpPr>
        <p:spPr>
          <a:xfrm flipV="1">
            <a:off x="2989927" y="1822665"/>
            <a:ext cx="2105408" cy="1552219"/>
          </a:xfrm>
          <a:prstGeom prst="straightConnector1">
            <a:avLst/>
          </a:prstGeom>
          <a:ln>
            <a:solidFill>
              <a:srgbClr val="237DB9"/>
            </a:solidFill>
            <a:prstDash val="soli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 Box 2"/>
          <p:cNvSpPr txBox="1">
            <a:spLocks noChangeArrowheads="1"/>
          </p:cNvSpPr>
          <p:nvPr/>
        </p:nvSpPr>
        <p:spPr bwMode="auto">
          <a:xfrm>
            <a:off x="991025" y="1095399"/>
            <a:ext cx="1410788" cy="335269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GB" sz="1000" b="1" dirty="0">
                <a:latin typeface="+mj-lt"/>
              </a:rPr>
              <a:t>IRELAND</a:t>
            </a:r>
          </a:p>
        </p:txBody>
      </p:sp>
      <p:sp>
        <p:nvSpPr>
          <p:cNvPr id="20" name="Text Box 2"/>
          <p:cNvSpPr txBox="1">
            <a:spLocks noChangeArrowheads="1"/>
          </p:cNvSpPr>
          <p:nvPr/>
        </p:nvSpPr>
        <p:spPr bwMode="auto">
          <a:xfrm>
            <a:off x="1286251" y="3446892"/>
            <a:ext cx="902012" cy="45446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algn="r">
              <a:lnSpc>
                <a:spcPct val="115000"/>
              </a:lnSpc>
              <a:spcAft>
                <a:spcPts val="0"/>
              </a:spcAft>
            </a:pPr>
            <a:r>
              <a:rPr lang="en-GB" sz="900" dirty="0">
                <a:latin typeface="+mj-lt"/>
                <a:ea typeface="Times New Roman"/>
              </a:rPr>
              <a:t>700 employees</a:t>
            </a:r>
            <a:endParaRPr lang="en-GB" sz="900" dirty="0">
              <a:effectLst/>
              <a:latin typeface="+mj-lt"/>
              <a:ea typeface="Times New Roman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6614843" y="4831664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6293453" y="3302876"/>
            <a:ext cx="1329502" cy="75195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dk1"/>
                </a:solidFill>
                <a:latin typeface="+mj-lt"/>
                <a:ea typeface="Calibri"/>
              </a:rPr>
              <a:t>Clients</a:t>
            </a:r>
            <a:endParaRPr lang="en-US" sz="1000" b="1" dirty="0">
              <a:solidFill>
                <a:schemeClr val="dk1"/>
              </a:solidFill>
              <a:latin typeface="+mj-lt"/>
              <a:ea typeface="Calibri"/>
            </a:endParaRPr>
          </a:p>
        </p:txBody>
      </p:sp>
      <p:cxnSp>
        <p:nvCxnSpPr>
          <p:cNvPr id="23" name="Straight Arrow Connector 22"/>
          <p:cNvCxnSpPr>
            <a:stCxn id="17" idx="2"/>
            <a:endCxn id="22" idx="0"/>
          </p:cNvCxnSpPr>
          <p:nvPr/>
        </p:nvCxnSpPr>
        <p:spPr>
          <a:xfrm>
            <a:off x="5095335" y="1822665"/>
            <a:ext cx="1862869" cy="1480211"/>
          </a:xfrm>
          <a:prstGeom prst="straightConnector1">
            <a:avLst/>
          </a:prstGeom>
          <a:ln>
            <a:solidFill>
              <a:srgbClr val="237DB9"/>
            </a:solidFill>
            <a:prstDash val="soli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Curved Up Arrow 23"/>
          <p:cNvSpPr/>
          <p:nvPr/>
        </p:nvSpPr>
        <p:spPr>
          <a:xfrm>
            <a:off x="3748553" y="3951165"/>
            <a:ext cx="2736304" cy="490059"/>
          </a:xfrm>
          <a:prstGeom prst="curvedUpArrow">
            <a:avLst/>
          </a:prstGeom>
          <a:solidFill>
            <a:srgbClr val="75B8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5" name="Text Box 2"/>
          <p:cNvSpPr txBox="1">
            <a:spLocks noChangeArrowheads="1"/>
          </p:cNvSpPr>
          <p:nvPr/>
        </p:nvSpPr>
        <p:spPr bwMode="auto">
          <a:xfrm>
            <a:off x="3579759" y="4446154"/>
            <a:ext cx="3024337" cy="591549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en-GB" sz="900" dirty="0">
                <a:latin typeface="+mj-lt"/>
                <a:ea typeface="Times New Roman"/>
              </a:rPr>
              <a:t>French tax authorities argued that the French employees were instrumental in selling the advertisement space even if the contracts were made with the Irish subsidiary</a:t>
            </a:r>
            <a:endParaRPr lang="en-GB" sz="900" dirty="0">
              <a:effectLst/>
              <a:latin typeface="+mj-lt"/>
              <a:ea typeface="Times New Roman"/>
            </a:endParaRPr>
          </a:p>
        </p:txBody>
      </p:sp>
      <p:sp>
        <p:nvSpPr>
          <p:cNvPr id="26" name="Text Box 2"/>
          <p:cNvSpPr txBox="1">
            <a:spLocks noChangeArrowheads="1"/>
          </p:cNvSpPr>
          <p:nvPr/>
        </p:nvSpPr>
        <p:spPr bwMode="auto">
          <a:xfrm>
            <a:off x="1068129" y="4054833"/>
            <a:ext cx="1728192" cy="1019238"/>
          </a:xfrm>
          <a:prstGeom prst="rect">
            <a:avLst/>
          </a:prstGeom>
          <a:solidFill>
            <a:srgbClr val="FFFFFF"/>
          </a:solidFill>
          <a:ln w="9525">
            <a:solidFill>
              <a:srgbClr val="237DB9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000" dirty="0">
                <a:latin typeface="+mj-lt"/>
                <a:ea typeface="Times New Roman"/>
              </a:rPr>
              <a:t>Extent of the tax claim: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000" dirty="0">
                <a:latin typeface="+mj-lt"/>
                <a:ea typeface="Times New Roman"/>
              </a:rPr>
              <a:t>From 2005 – 2010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000" dirty="0">
                <a:effectLst/>
                <a:latin typeface="+mj-lt"/>
                <a:ea typeface="Times New Roman"/>
              </a:rPr>
              <a:t>Euro 1.1 billion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GB" sz="1000" dirty="0">
                <a:latin typeface="+mj-lt"/>
                <a:ea typeface="Times New Roman"/>
              </a:rPr>
              <a:t>Circa US$1.64 billion</a:t>
            </a:r>
            <a:endParaRPr lang="en-GB" sz="1000" dirty="0">
              <a:effectLst/>
              <a:latin typeface="+mj-lt"/>
              <a:ea typeface="Times New Roman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113324" y="5294542"/>
            <a:ext cx="80310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64677"/>
            <a:r>
              <a:rPr lang="en-GB" sz="1000" b="1" dirty="0">
                <a:latin typeface="+mj-lt"/>
              </a:rPr>
              <a:t>Did Google Ireland have a P/E in France</a:t>
            </a:r>
          </a:p>
        </p:txBody>
      </p:sp>
      <p:sp>
        <p:nvSpPr>
          <p:cNvPr id="28" name="Oval 27"/>
          <p:cNvSpPr/>
          <p:nvPr/>
        </p:nvSpPr>
        <p:spPr>
          <a:xfrm>
            <a:off x="3070770" y="5586762"/>
            <a:ext cx="4049127" cy="452418"/>
          </a:xfrm>
          <a:prstGeom prst="ellipse">
            <a:avLst/>
          </a:prstGeom>
          <a:solidFill>
            <a:schemeClr val="bg1"/>
          </a:solidFill>
          <a:ln>
            <a:solidFill>
              <a:srgbClr val="237D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dk1"/>
                </a:solidFill>
                <a:latin typeface="+mj-lt"/>
                <a:ea typeface="Calibri"/>
              </a:rPr>
              <a:t>Lack of physical presence</a:t>
            </a:r>
            <a:endParaRPr lang="en-US" sz="1000" b="1" dirty="0">
              <a:solidFill>
                <a:schemeClr val="dk1"/>
              </a:solidFill>
              <a:latin typeface="+mj-lt"/>
              <a:ea typeface="Calibri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13902" y="6010277"/>
            <a:ext cx="803103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64677"/>
            <a:r>
              <a:rPr lang="en-GB" sz="1000" b="1" dirty="0">
                <a:latin typeface="+mj-lt"/>
              </a:rPr>
              <a:t>Held that:</a:t>
            </a:r>
          </a:p>
          <a:p>
            <a:pPr defTabSz="664677"/>
            <a:endParaRPr lang="en-GB" sz="1000" dirty="0">
              <a:latin typeface="+mj-lt"/>
            </a:endParaRPr>
          </a:p>
          <a:p>
            <a:pPr marL="171450" indent="-171450" defTabSz="664677">
              <a:buFont typeface="Wingdings" panose="05000000000000000000" pitchFamily="2" charset="2"/>
              <a:buChar char="Ø"/>
            </a:pPr>
            <a:r>
              <a:rPr lang="en-GB" sz="1000" dirty="0">
                <a:latin typeface="+mj-lt"/>
              </a:rPr>
              <a:t>French Tax Authorities did not have a P/E</a:t>
            </a:r>
          </a:p>
          <a:p>
            <a:pPr marL="171450" indent="-171450" defTabSz="664677">
              <a:buFont typeface="Wingdings" panose="05000000000000000000" pitchFamily="2" charset="2"/>
              <a:buChar char="Ø"/>
            </a:pPr>
            <a:r>
              <a:rPr lang="en-GB" sz="1000" dirty="0">
                <a:latin typeface="+mj-lt"/>
              </a:rPr>
              <a:t>Could not collect corporate tax or withholding tax from Google Ireland</a:t>
            </a:r>
          </a:p>
          <a:p>
            <a:pPr marL="171450" indent="-171450" defTabSz="664677">
              <a:buFont typeface="Wingdings" panose="05000000000000000000" pitchFamily="2" charset="2"/>
              <a:buChar char="Ø"/>
            </a:pPr>
            <a:r>
              <a:rPr lang="en-GB" sz="1000" dirty="0">
                <a:latin typeface="+mj-lt"/>
              </a:rPr>
              <a:t>Other taxes such as VAT did not apply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847205" y="3030787"/>
            <a:ext cx="6687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1" dirty="0">
                <a:latin typeface="+mj-lt"/>
              </a:rPr>
              <a:t>France</a:t>
            </a:r>
          </a:p>
        </p:txBody>
      </p:sp>
    </p:spTree>
    <p:extLst>
      <p:ext uri="{BB962C8B-B14F-4D97-AF65-F5344CB8AC3E}">
        <p14:creationId xmlns:p14="http://schemas.microsoft.com/office/powerpoint/2010/main" val="90937884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18529" y="2193656"/>
            <a:ext cx="9809052" cy="560762"/>
          </a:xfrm>
        </p:spPr>
        <p:txBody>
          <a:bodyPr/>
          <a:lstStyle/>
          <a:p>
            <a:r>
              <a:rPr lang="en-IN" sz="3600" b="1" dirty="0">
                <a:solidFill>
                  <a:srgbClr val="DA291C"/>
                </a:solidFill>
              </a:rPr>
              <a:t>Taxing Digital Economy </a:t>
            </a:r>
            <a:br>
              <a:rPr lang="en-IN" sz="3600" b="1" dirty="0">
                <a:solidFill>
                  <a:srgbClr val="DA291C"/>
                </a:solidFill>
              </a:rPr>
            </a:br>
            <a:r>
              <a:rPr lang="en-IN" sz="3600" b="1" dirty="0">
                <a:solidFill>
                  <a:srgbClr val="DA291C"/>
                </a:solidFill>
              </a:rPr>
              <a:t> - India’s take</a:t>
            </a:r>
            <a:endParaRPr lang="en-IN" sz="3600" dirty="0">
              <a:solidFill>
                <a:srgbClr val="DA29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36819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4_3_Onscreen.potx" id="{300F3ED9-9C4C-4838-B157-107BB206E623}" vid="{ABD9136E-862F-4680-B56C-E8832C898BE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0343744724FF46B7AD98224B39BE52" ma:contentTypeVersion="2" ma:contentTypeDescription="Create a new document." ma:contentTypeScope="" ma:versionID="088151b90c8afaf91da3cce23c1678e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4a9e1423231864226a390b3240cbb876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 ma:index="8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840D739-5959-49AC-92D7-192AF482ED8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156B57-2802-4D8B-BFB8-5CE00300C38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E4BF101-9CF0-4E56-886B-DA00D1617B30}">
  <ds:schemaRefs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st</Template>
  <TotalTime>2457</TotalTime>
  <Words>1191</Words>
  <Application>Microsoft Office PowerPoint</Application>
  <PresentationFormat>Custom</PresentationFormat>
  <Paragraphs>166</Paragraphs>
  <Slides>25</Slides>
  <Notes>2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4" baseType="lpstr">
      <vt:lpstr>Arial</vt:lpstr>
      <vt:lpstr>Calibri</vt:lpstr>
      <vt:lpstr>Open Sans</vt:lpstr>
      <vt:lpstr>Times New Roman</vt:lpstr>
      <vt:lpstr>Verdana</vt:lpstr>
      <vt:lpstr>Wingdings</vt:lpstr>
      <vt:lpstr>Wingdings 2</vt:lpstr>
      <vt:lpstr>Deloitte 16_9 onscreen</vt:lpstr>
      <vt:lpstr>think-cell Slide</vt:lpstr>
      <vt:lpstr>PowerPoint Presentation</vt:lpstr>
      <vt:lpstr>Plenary 1   </vt:lpstr>
      <vt:lpstr>OECD Interim Report and other International Developments</vt:lpstr>
      <vt:lpstr>International consensus – a challenge?</vt:lpstr>
      <vt:lpstr>Is it a Source v Residence debate?</vt:lpstr>
      <vt:lpstr>Digitalization of Businesses</vt:lpstr>
      <vt:lpstr>Permanent establishment (‘PE’)</vt:lpstr>
      <vt:lpstr>Google case</vt:lpstr>
      <vt:lpstr>Taxing Digital Economy   - India’s take</vt:lpstr>
      <vt:lpstr>Taxing the digital economy – India’s take (1/4)</vt:lpstr>
      <vt:lpstr>Taxing the digital economy – India’s take (2/4)</vt:lpstr>
      <vt:lpstr>Taxing the digital economy – India’s take (3/4)</vt:lpstr>
      <vt:lpstr>Taxing the digital economy – India’s take (4/4)</vt:lpstr>
      <vt:lpstr>Equalisation Levy  - Issues under consideration</vt:lpstr>
      <vt:lpstr>EL: Issues under consideration (1/2) </vt:lpstr>
      <vt:lpstr>EL: Issues under consideration (2/2) </vt:lpstr>
      <vt:lpstr>Significant Economic Presence  - Issues under consideration </vt:lpstr>
      <vt:lpstr>SEP: Issues under consideration (1/7)  </vt:lpstr>
      <vt:lpstr>SEP: Issues under consideration (2/7)  </vt:lpstr>
      <vt:lpstr>SEP: Issues under consideration (3/7)  </vt:lpstr>
      <vt:lpstr>SEP: Issues under consideration (4/7)  </vt:lpstr>
      <vt:lpstr>SEP: Issues under consideration (5/7)  </vt:lpstr>
      <vt:lpstr>SEP: Issues under consideration (6/7)  </vt:lpstr>
      <vt:lpstr>SEP: Issues under consideration (7/7)  </vt:lpstr>
      <vt:lpstr>Closing Remarks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Verdana Bold</dc:title>
  <dc:subject/>
  <dc:creator>Deloitte</dc:creator>
  <cp:keywords>DTTILLP 2018</cp:keywords>
  <cp:lastModifiedBy>Vaish-CP2</cp:lastModifiedBy>
  <cp:revision>145</cp:revision>
  <cp:lastPrinted>2014-06-25T02:16:22Z</cp:lastPrinted>
  <dcterms:created xsi:type="dcterms:W3CDTF">2016-06-13T07:02:02Z</dcterms:created>
  <dcterms:modified xsi:type="dcterms:W3CDTF">2018-04-27T03:22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0343744724FF46B7AD98224B39BE52</vt:lpwstr>
  </property>
  <property fmtid="{D5CDD505-2E9C-101B-9397-08002B2CF9AE}" pid="3" name="_dlc_DocIdItemGuid">
    <vt:lpwstr>5a3771e1-9eac-4107-aab8-cb01ed80b2ad</vt:lpwstr>
  </property>
  <property fmtid="{D5CDD505-2E9C-101B-9397-08002B2CF9AE}" pid="4" name="Local Content Type">
    <vt:lpwstr/>
  </property>
  <property fmtid="{D5CDD505-2E9C-101B-9397-08002B2CF9AE}" pid="5" name="TaxKeyword">
    <vt:lpwstr/>
  </property>
  <property fmtid="{D5CDD505-2E9C-101B-9397-08002B2CF9AE}" pid="6" name="Geography">
    <vt:lpwstr>18;#India (52387)|a87c33bf-1037-46ea-adf3-4e511a076333</vt:lpwstr>
  </property>
  <property fmtid="{D5CDD505-2E9C-101B-9397-08002B2CF9AE}" pid="7" name="Global Client Services">
    <vt:lpwstr/>
  </property>
  <property fmtid="{D5CDD505-2E9C-101B-9397-08002B2CF9AE}" pid="8" name="Local Industry">
    <vt:lpwstr/>
  </property>
  <property fmtid="{D5CDD505-2E9C-101B-9397-08002B2CF9AE}" pid="9" name="Global Industry">
    <vt:lpwstr/>
  </property>
  <property fmtid="{D5CDD505-2E9C-101B-9397-08002B2CF9AE}" pid="10" name="Global Content Type">
    <vt:lpwstr/>
  </property>
  <property fmtid="{D5CDD505-2E9C-101B-9397-08002B2CF9AE}" pid="11" name="LanguageB">
    <vt:lpwstr>2;#English|b169a262-1aaa-4ccb-9acf-78a36c1d9bab</vt:lpwstr>
  </property>
  <property fmtid="{D5CDD505-2E9C-101B-9397-08002B2CF9AE}" pid="12" name="Local Client Services">
    <vt:lpwstr/>
  </property>
</Properties>
</file>